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13"/>
  </p:notesMasterIdLst>
  <p:handoutMasterIdLst>
    <p:handoutMasterId r:id="rId14"/>
  </p:handoutMasterIdLst>
  <p:sldIdLst>
    <p:sldId id="410" r:id="rId2"/>
    <p:sldId id="432" r:id="rId3"/>
    <p:sldId id="435" r:id="rId4"/>
    <p:sldId id="439" r:id="rId5"/>
    <p:sldId id="433" r:id="rId6"/>
    <p:sldId id="440" r:id="rId7"/>
    <p:sldId id="434" r:id="rId8"/>
    <p:sldId id="417" r:id="rId9"/>
    <p:sldId id="437" r:id="rId10"/>
    <p:sldId id="438" r:id="rId11"/>
    <p:sldId id="269" r:id="rId12"/>
  </p:sldIdLst>
  <p:sldSz cx="10799763" cy="7559675"/>
  <p:notesSz cx="6858000" cy="9947275"/>
  <p:defaultTextStyle>
    <a:defPPr>
      <a:defRPr lang="kk-K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626" userDrawn="1">
          <p15:clr>
            <a:srgbClr val="A4A3A4"/>
          </p15:clr>
        </p15:guide>
        <p15:guide id="3" orient="horz" pos="181" userDrawn="1">
          <p15:clr>
            <a:srgbClr val="A4A3A4"/>
          </p15:clr>
        </p15:guide>
        <p15:guide id="4" pos="249" userDrawn="1">
          <p15:clr>
            <a:srgbClr val="A4A3A4"/>
          </p15:clr>
        </p15:guide>
        <p15:guide id="5" orient="horz" pos="748" userDrawn="1">
          <p15:clr>
            <a:srgbClr val="A4A3A4"/>
          </p15:clr>
        </p15:guide>
        <p15:guide id="6" pos="748" userDrawn="1">
          <p15:clr>
            <a:srgbClr val="A4A3A4"/>
          </p15:clr>
        </p15:guide>
        <p15:guide id="7" pos="2925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lan Dorjiyev" initials="AD" lastIdx="1" clrIdx="0">
    <p:extLst>
      <p:ext uri="{19B8F6BF-5375-455C-9EA6-DF929625EA0E}">
        <p15:presenceInfo xmlns:p15="http://schemas.microsoft.com/office/powerpoint/2012/main" userId="72aa551d97e02b6f" providerId="Windows Live"/>
      </p:ext>
    </p:extLst>
  </p:cmAuthor>
  <p:cmAuthor id="2" name="Пользователь Windows" initials="ПW" lastIdx="8" clrIdx="1">
    <p:extLst>
      <p:ext uri="{19B8F6BF-5375-455C-9EA6-DF929625EA0E}">
        <p15:presenceInfo xmlns:p15="http://schemas.microsoft.com/office/powerpoint/2012/main" userId="Пользователь Windows" providerId="None"/>
      </p:ext>
    </p:extLst>
  </p:cmAuthor>
  <p:cmAuthor id="3" name="Ульяна Черных" initials="УЧ" lastIdx="2" clrIdx="2">
    <p:extLst>
      <p:ext uri="{19B8F6BF-5375-455C-9EA6-DF929625EA0E}">
        <p15:presenceInfo xmlns:p15="http://schemas.microsoft.com/office/powerpoint/2012/main" userId="S-1-5-21-1489121957-1113162063-1825907503-4757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B0F0"/>
    <a:srgbClr val="019DD8"/>
    <a:srgbClr val="0F6FC6"/>
    <a:srgbClr val="DEEBF7"/>
    <a:srgbClr val="10CF9B"/>
    <a:srgbClr val="5EC13F"/>
    <a:srgbClr val="0FBD8F"/>
    <a:srgbClr val="0BD0D9"/>
    <a:srgbClr val="7CCC62"/>
    <a:srgbClr val="ADB9C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Средний стиль 2 — акцент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7DF18680-E054-41AD-8BC1-D1AEF772440D}" styleName="Средний стиль 2 — акцент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3480" autoAdjust="0"/>
    <p:restoredTop sz="94660"/>
  </p:normalViewPr>
  <p:slideViewPr>
    <p:cSldViewPr snapToGrid="0" showGuides="1">
      <p:cViewPr varScale="1">
        <p:scale>
          <a:sx n="104" d="100"/>
          <a:sy n="104" d="100"/>
        </p:scale>
        <p:origin x="1410" y="144"/>
      </p:cViewPr>
      <p:guideLst>
        <p:guide orient="horz" pos="4626"/>
        <p:guide orient="horz" pos="181"/>
        <p:guide pos="249"/>
        <p:guide orient="horz" pos="748"/>
        <p:guide pos="748"/>
        <p:guide pos="2925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commentAuthors" Target="commentAuthors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handoutMaster" Target="handoutMasters/handout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71800" cy="498475"/>
          </a:xfrm>
          <a:prstGeom prst="rect">
            <a:avLst/>
          </a:prstGeom>
        </p:spPr>
        <p:txBody>
          <a:bodyPr vert="horz" lIns="91429" tIns="45714" rIns="91429" bIns="45714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84614" y="1"/>
            <a:ext cx="2971800" cy="498475"/>
          </a:xfrm>
          <a:prstGeom prst="rect">
            <a:avLst/>
          </a:prstGeom>
        </p:spPr>
        <p:txBody>
          <a:bodyPr vert="horz" lIns="91429" tIns="45714" rIns="91429" bIns="45714" rtlCol="0"/>
          <a:lstStyle>
            <a:lvl1pPr algn="r">
              <a:defRPr sz="1200"/>
            </a:lvl1pPr>
          </a:lstStyle>
          <a:p>
            <a:fld id="{DE839865-B253-43F3-A229-F02BEE969DAD}" type="datetimeFigureOut">
              <a:rPr lang="ru-RU" smtClean="0"/>
              <a:pPr/>
              <a:t>16.06.2021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448801"/>
            <a:ext cx="2971800" cy="498475"/>
          </a:xfrm>
          <a:prstGeom prst="rect">
            <a:avLst/>
          </a:prstGeom>
        </p:spPr>
        <p:txBody>
          <a:bodyPr vert="horz" lIns="91429" tIns="45714" rIns="91429" bIns="45714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84614" y="9448801"/>
            <a:ext cx="2971800" cy="498475"/>
          </a:xfrm>
          <a:prstGeom prst="rect">
            <a:avLst/>
          </a:prstGeom>
        </p:spPr>
        <p:txBody>
          <a:bodyPr vert="horz" lIns="91429" tIns="45714" rIns="91429" bIns="45714" rtlCol="0" anchor="b"/>
          <a:lstStyle>
            <a:lvl1pPr algn="r">
              <a:defRPr sz="1200"/>
            </a:lvl1pPr>
          </a:lstStyle>
          <a:p>
            <a:fld id="{0FBFADB0-5517-462D-A638-1A9D8713C9AD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6344600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99091"/>
          </a:xfrm>
          <a:prstGeom prst="rect">
            <a:avLst/>
          </a:prstGeom>
        </p:spPr>
        <p:txBody>
          <a:bodyPr vert="horz" lIns="91877" tIns="45938" rIns="91877" bIns="45938" rtlCol="0"/>
          <a:lstStyle>
            <a:lvl1pPr algn="l">
              <a:defRPr sz="1200"/>
            </a:lvl1pPr>
          </a:lstStyle>
          <a:p>
            <a:endParaRPr lang="kk-KZ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5" y="0"/>
            <a:ext cx="2971800" cy="499091"/>
          </a:xfrm>
          <a:prstGeom prst="rect">
            <a:avLst/>
          </a:prstGeom>
        </p:spPr>
        <p:txBody>
          <a:bodyPr vert="horz" lIns="91877" tIns="45938" rIns="91877" bIns="45938" rtlCol="0"/>
          <a:lstStyle>
            <a:lvl1pPr algn="r">
              <a:defRPr sz="1200"/>
            </a:lvl1pPr>
          </a:lstStyle>
          <a:p>
            <a:fld id="{094E7B8F-5D22-427C-A929-3B3F30C68F41}" type="datetimeFigureOut">
              <a:rPr lang="kk-KZ" smtClean="0"/>
              <a:pPr/>
              <a:t>16.06.2021</a:t>
            </a:fld>
            <a:endParaRPr lang="kk-KZ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030288" y="1243013"/>
            <a:ext cx="4797425" cy="33575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877" tIns="45938" rIns="91877" bIns="45938" rtlCol="0" anchor="ctr"/>
          <a:lstStyle/>
          <a:p>
            <a:endParaRPr lang="kk-KZ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1" y="4787128"/>
            <a:ext cx="5486400" cy="3916739"/>
          </a:xfrm>
          <a:prstGeom prst="rect">
            <a:avLst/>
          </a:prstGeom>
        </p:spPr>
        <p:txBody>
          <a:bodyPr vert="horz" lIns="91877" tIns="45938" rIns="91877" bIns="45938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kk-KZ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48186"/>
            <a:ext cx="2971800" cy="499090"/>
          </a:xfrm>
          <a:prstGeom prst="rect">
            <a:avLst/>
          </a:prstGeom>
        </p:spPr>
        <p:txBody>
          <a:bodyPr vert="horz" lIns="91877" tIns="45938" rIns="91877" bIns="45938" rtlCol="0" anchor="b"/>
          <a:lstStyle>
            <a:lvl1pPr algn="l">
              <a:defRPr sz="1200"/>
            </a:lvl1pPr>
          </a:lstStyle>
          <a:p>
            <a:endParaRPr lang="kk-KZ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5" y="9448186"/>
            <a:ext cx="2971800" cy="499090"/>
          </a:xfrm>
          <a:prstGeom prst="rect">
            <a:avLst/>
          </a:prstGeom>
        </p:spPr>
        <p:txBody>
          <a:bodyPr vert="horz" lIns="91877" tIns="45938" rIns="91877" bIns="45938" rtlCol="0" anchor="b"/>
          <a:lstStyle>
            <a:lvl1pPr algn="r">
              <a:defRPr sz="1200"/>
            </a:lvl1pPr>
          </a:lstStyle>
          <a:p>
            <a:fld id="{C7DA8A9B-CCEF-4A8E-9660-6C1FA9BC7537}" type="slidenum">
              <a:rPr lang="kk-KZ" smtClean="0"/>
              <a:pPr/>
              <a:t>‹#›</a:t>
            </a:fld>
            <a:endParaRPr lang="kk-KZ"/>
          </a:p>
        </p:txBody>
      </p:sp>
    </p:spTree>
    <p:extLst>
      <p:ext uri="{BB962C8B-B14F-4D97-AF65-F5344CB8AC3E}">
        <p14:creationId xmlns:p14="http://schemas.microsoft.com/office/powerpoint/2010/main" val="229411614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506413" y="809625"/>
            <a:ext cx="5784850" cy="4049713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0CD2554-4D6F-48AB-82C1-778B840BA809}" type="slidenum">
              <a:rPr lang="ru-RU" smtClean="0"/>
              <a:pPr/>
              <a:t>2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8913320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973388" y="1006475"/>
            <a:ext cx="3884612" cy="27193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491326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D0FD574-4987-4145-86EB-E3DC0855F7B2}" type="slidenum">
              <a:rPr lang="ru-RU" smtClean="0"/>
              <a:pPr/>
              <a:t>1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1499513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09982" y="1237197"/>
            <a:ext cx="9179799" cy="2631887"/>
          </a:xfrm>
        </p:spPr>
        <p:txBody>
          <a:bodyPr anchor="b"/>
          <a:lstStyle>
            <a:lvl1pPr algn="ctr">
              <a:defRPr sz="6614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49971" y="3970580"/>
            <a:ext cx="8099822" cy="1825171"/>
          </a:xfr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94702E-8E53-4918-B069-4BE4C5F12385}" type="datetimeFigureOut">
              <a:rPr lang="kk-KZ" smtClean="0"/>
              <a:pPr/>
              <a:t>16.06.2021</a:t>
            </a:fld>
            <a:endParaRPr lang="kk-K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k-K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093B22-D6B9-4C36-85F5-BA7E6A5BAC8C}" type="slidenum">
              <a:rPr lang="kk-KZ" smtClean="0"/>
              <a:pPr/>
              <a:t>‹#›</a:t>
            </a:fld>
            <a:endParaRPr lang="kk-KZ"/>
          </a:p>
        </p:txBody>
      </p:sp>
    </p:spTree>
    <p:extLst>
      <p:ext uri="{BB962C8B-B14F-4D97-AF65-F5344CB8AC3E}">
        <p14:creationId xmlns:p14="http://schemas.microsoft.com/office/powerpoint/2010/main" val="53028845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94702E-8E53-4918-B069-4BE4C5F12385}" type="datetimeFigureOut">
              <a:rPr lang="kk-KZ" smtClean="0"/>
              <a:pPr/>
              <a:t>16.06.2021</a:t>
            </a:fld>
            <a:endParaRPr lang="kk-K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k-K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093B22-D6B9-4C36-85F5-BA7E6A5BAC8C}" type="slidenum">
              <a:rPr lang="kk-KZ" smtClean="0"/>
              <a:pPr/>
              <a:t>‹#›</a:t>
            </a:fld>
            <a:endParaRPr lang="kk-KZ"/>
          </a:p>
        </p:txBody>
      </p:sp>
    </p:spTree>
    <p:extLst>
      <p:ext uri="{BB962C8B-B14F-4D97-AF65-F5344CB8AC3E}">
        <p14:creationId xmlns:p14="http://schemas.microsoft.com/office/powerpoint/2010/main" val="350065691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728581" y="402483"/>
            <a:ext cx="2328699" cy="6406475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742484" y="402483"/>
            <a:ext cx="6851100" cy="6406475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94702E-8E53-4918-B069-4BE4C5F12385}" type="datetimeFigureOut">
              <a:rPr lang="kk-KZ" smtClean="0"/>
              <a:pPr/>
              <a:t>16.06.2021</a:t>
            </a:fld>
            <a:endParaRPr lang="kk-K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k-K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093B22-D6B9-4C36-85F5-BA7E6A5BAC8C}" type="slidenum">
              <a:rPr lang="kk-KZ" smtClean="0"/>
              <a:pPr/>
              <a:t>‹#›</a:t>
            </a:fld>
            <a:endParaRPr lang="kk-KZ"/>
          </a:p>
        </p:txBody>
      </p:sp>
    </p:spTree>
    <p:extLst>
      <p:ext uri="{BB962C8B-B14F-4D97-AF65-F5344CB8AC3E}">
        <p14:creationId xmlns:p14="http://schemas.microsoft.com/office/powerpoint/2010/main" val="136388694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975" y="1218"/>
          <a:ext cx="974" cy="121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2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975" y="1218"/>
                        <a:ext cx="974" cy="121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4121" y="344709"/>
            <a:ext cx="9456679" cy="54059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AU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71132" y="1323504"/>
            <a:ext cx="10009827" cy="5430509"/>
          </a:xfrm>
        </p:spPr>
        <p:txBody>
          <a:bodyPr/>
          <a:lstStyle>
            <a:lvl1pPr>
              <a:spcBef>
                <a:spcPts val="290"/>
              </a:spcBef>
              <a:defRPr/>
            </a:lvl1pPr>
            <a:lvl2pPr marL="345447" indent="-174084">
              <a:spcBef>
                <a:spcPts val="290"/>
              </a:spcBef>
              <a:defRPr/>
            </a:lvl2pPr>
            <a:lvl3pPr marL="690892" indent="-174084">
              <a:spcBef>
                <a:spcPts val="290"/>
              </a:spcBef>
              <a:defRPr/>
            </a:lvl3pPr>
            <a:lvl4pPr marL="1039057" indent="-176803">
              <a:spcBef>
                <a:spcPts val="290"/>
              </a:spcBef>
              <a:defRPr/>
            </a:lvl4pPr>
            <a:lvl5pPr marL="1555867" indent="-174084">
              <a:spcBef>
                <a:spcPts val="29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394019144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3779837"/>
            <a:ext cx="10799763" cy="3779838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5972842" y="0"/>
            <a:ext cx="4083832" cy="75596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742482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94702E-8E53-4918-B069-4BE4C5F12385}" type="datetimeFigureOut">
              <a:rPr lang="kk-KZ" smtClean="0"/>
              <a:pPr/>
              <a:t>16.06.2021</a:t>
            </a:fld>
            <a:endParaRPr lang="kk-K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k-K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093B22-D6B9-4C36-85F5-BA7E6A5BAC8C}" type="slidenum">
              <a:rPr lang="kk-KZ" smtClean="0"/>
              <a:pPr/>
              <a:t>‹#›</a:t>
            </a:fld>
            <a:endParaRPr lang="kk-KZ"/>
          </a:p>
        </p:txBody>
      </p:sp>
    </p:spTree>
    <p:extLst>
      <p:ext uri="{BB962C8B-B14F-4D97-AF65-F5344CB8AC3E}">
        <p14:creationId xmlns:p14="http://schemas.microsoft.com/office/powerpoint/2010/main" val="7578651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6859" y="1884671"/>
            <a:ext cx="9314796" cy="3144614"/>
          </a:xfrm>
        </p:spPr>
        <p:txBody>
          <a:bodyPr anchor="b"/>
          <a:lstStyle>
            <a:lvl1pPr>
              <a:defRPr sz="6614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36859" y="5059035"/>
            <a:ext cx="9314796" cy="1653678"/>
          </a:xfrm>
        </p:spPr>
        <p:txBody>
          <a:bodyPr/>
          <a:lstStyle>
            <a:lvl1pPr marL="0" indent="0">
              <a:buNone/>
              <a:defRPr sz="2646">
                <a:solidFill>
                  <a:schemeClr val="tx1"/>
                </a:solidFill>
              </a:defRPr>
            </a:lvl1pPr>
            <a:lvl2pPr marL="503972" indent="0">
              <a:buNone/>
              <a:defRPr sz="2205">
                <a:solidFill>
                  <a:schemeClr val="tx1">
                    <a:tint val="75000"/>
                  </a:schemeClr>
                </a:solidFill>
              </a:defRPr>
            </a:lvl2pPr>
            <a:lvl3pPr marL="1007943" indent="0">
              <a:buNone/>
              <a:defRPr sz="1984">
                <a:solidFill>
                  <a:schemeClr val="tx1">
                    <a:tint val="75000"/>
                  </a:schemeClr>
                </a:solidFill>
              </a:defRPr>
            </a:lvl3pPr>
            <a:lvl4pPr marL="1511915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4pPr>
            <a:lvl5pPr marL="2015886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5pPr>
            <a:lvl6pPr marL="2519858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6pPr>
            <a:lvl7pPr marL="3023829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7pPr>
            <a:lvl8pPr marL="3527801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8pPr>
            <a:lvl9pPr marL="4031772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94702E-8E53-4918-B069-4BE4C5F12385}" type="datetimeFigureOut">
              <a:rPr lang="kk-KZ" smtClean="0"/>
              <a:pPr/>
              <a:t>16.06.2021</a:t>
            </a:fld>
            <a:endParaRPr lang="kk-K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k-K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093B22-D6B9-4C36-85F5-BA7E6A5BAC8C}" type="slidenum">
              <a:rPr lang="kk-KZ" smtClean="0"/>
              <a:pPr/>
              <a:t>‹#›</a:t>
            </a:fld>
            <a:endParaRPr lang="kk-KZ"/>
          </a:p>
        </p:txBody>
      </p:sp>
    </p:spTree>
    <p:extLst>
      <p:ext uri="{BB962C8B-B14F-4D97-AF65-F5344CB8AC3E}">
        <p14:creationId xmlns:p14="http://schemas.microsoft.com/office/powerpoint/2010/main" val="107060217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42484" y="2012414"/>
            <a:ext cx="4589899" cy="479654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467380" y="2012414"/>
            <a:ext cx="4589899" cy="479654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94702E-8E53-4918-B069-4BE4C5F12385}" type="datetimeFigureOut">
              <a:rPr lang="kk-KZ" smtClean="0"/>
              <a:pPr/>
              <a:t>16.06.2021</a:t>
            </a:fld>
            <a:endParaRPr lang="kk-KZ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k-KZ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093B22-D6B9-4C36-85F5-BA7E6A5BAC8C}" type="slidenum">
              <a:rPr lang="kk-KZ" smtClean="0"/>
              <a:pPr/>
              <a:t>‹#›</a:t>
            </a:fld>
            <a:endParaRPr lang="kk-KZ"/>
          </a:p>
        </p:txBody>
      </p:sp>
    </p:spTree>
    <p:extLst>
      <p:ext uri="{BB962C8B-B14F-4D97-AF65-F5344CB8AC3E}">
        <p14:creationId xmlns:p14="http://schemas.microsoft.com/office/powerpoint/2010/main" val="62002426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43890" y="402484"/>
            <a:ext cx="9314796" cy="1461188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43892" y="1853171"/>
            <a:ext cx="4568805" cy="908210"/>
          </a:xfrm>
        </p:spPr>
        <p:txBody>
          <a:bodyPr anchor="b"/>
          <a:lstStyle>
            <a:lvl1pPr marL="0" indent="0">
              <a:buNone/>
              <a:defRPr sz="2646" b="1"/>
            </a:lvl1pPr>
            <a:lvl2pPr marL="503972" indent="0">
              <a:buNone/>
              <a:defRPr sz="2205" b="1"/>
            </a:lvl2pPr>
            <a:lvl3pPr marL="1007943" indent="0">
              <a:buNone/>
              <a:defRPr sz="1984" b="1"/>
            </a:lvl3pPr>
            <a:lvl4pPr marL="1511915" indent="0">
              <a:buNone/>
              <a:defRPr sz="1764" b="1"/>
            </a:lvl4pPr>
            <a:lvl5pPr marL="2015886" indent="0">
              <a:buNone/>
              <a:defRPr sz="1764" b="1"/>
            </a:lvl5pPr>
            <a:lvl6pPr marL="2519858" indent="0">
              <a:buNone/>
              <a:defRPr sz="1764" b="1"/>
            </a:lvl6pPr>
            <a:lvl7pPr marL="3023829" indent="0">
              <a:buNone/>
              <a:defRPr sz="1764" b="1"/>
            </a:lvl7pPr>
            <a:lvl8pPr marL="3527801" indent="0">
              <a:buNone/>
              <a:defRPr sz="1764" b="1"/>
            </a:lvl8pPr>
            <a:lvl9pPr marL="4031772" indent="0">
              <a:buNone/>
              <a:defRPr sz="1764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43892" y="2761381"/>
            <a:ext cx="4568805" cy="406157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467381" y="1853171"/>
            <a:ext cx="4591306" cy="908210"/>
          </a:xfrm>
        </p:spPr>
        <p:txBody>
          <a:bodyPr anchor="b"/>
          <a:lstStyle>
            <a:lvl1pPr marL="0" indent="0">
              <a:buNone/>
              <a:defRPr sz="2646" b="1"/>
            </a:lvl1pPr>
            <a:lvl2pPr marL="503972" indent="0">
              <a:buNone/>
              <a:defRPr sz="2205" b="1"/>
            </a:lvl2pPr>
            <a:lvl3pPr marL="1007943" indent="0">
              <a:buNone/>
              <a:defRPr sz="1984" b="1"/>
            </a:lvl3pPr>
            <a:lvl4pPr marL="1511915" indent="0">
              <a:buNone/>
              <a:defRPr sz="1764" b="1"/>
            </a:lvl4pPr>
            <a:lvl5pPr marL="2015886" indent="0">
              <a:buNone/>
              <a:defRPr sz="1764" b="1"/>
            </a:lvl5pPr>
            <a:lvl6pPr marL="2519858" indent="0">
              <a:buNone/>
              <a:defRPr sz="1764" b="1"/>
            </a:lvl6pPr>
            <a:lvl7pPr marL="3023829" indent="0">
              <a:buNone/>
              <a:defRPr sz="1764" b="1"/>
            </a:lvl7pPr>
            <a:lvl8pPr marL="3527801" indent="0">
              <a:buNone/>
              <a:defRPr sz="1764" b="1"/>
            </a:lvl8pPr>
            <a:lvl9pPr marL="4031772" indent="0">
              <a:buNone/>
              <a:defRPr sz="1764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467381" y="2761381"/>
            <a:ext cx="4591306" cy="406157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94702E-8E53-4918-B069-4BE4C5F12385}" type="datetimeFigureOut">
              <a:rPr lang="kk-KZ" smtClean="0"/>
              <a:pPr/>
              <a:t>16.06.2021</a:t>
            </a:fld>
            <a:endParaRPr lang="kk-KZ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k-KZ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093B22-D6B9-4C36-85F5-BA7E6A5BAC8C}" type="slidenum">
              <a:rPr lang="kk-KZ" smtClean="0"/>
              <a:pPr/>
              <a:t>‹#›</a:t>
            </a:fld>
            <a:endParaRPr lang="kk-KZ"/>
          </a:p>
        </p:txBody>
      </p:sp>
    </p:spTree>
    <p:extLst>
      <p:ext uri="{BB962C8B-B14F-4D97-AF65-F5344CB8AC3E}">
        <p14:creationId xmlns:p14="http://schemas.microsoft.com/office/powerpoint/2010/main" val="11684216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94702E-8E53-4918-B069-4BE4C5F12385}" type="datetimeFigureOut">
              <a:rPr lang="kk-KZ" smtClean="0"/>
              <a:pPr/>
              <a:t>16.06.2021</a:t>
            </a:fld>
            <a:endParaRPr lang="kk-KZ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k-KZ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093B22-D6B9-4C36-85F5-BA7E6A5BAC8C}" type="slidenum">
              <a:rPr lang="kk-KZ" smtClean="0"/>
              <a:pPr/>
              <a:t>‹#›</a:t>
            </a:fld>
            <a:endParaRPr lang="kk-KZ"/>
          </a:p>
        </p:txBody>
      </p:sp>
    </p:spTree>
    <p:extLst>
      <p:ext uri="{BB962C8B-B14F-4D97-AF65-F5344CB8AC3E}">
        <p14:creationId xmlns:p14="http://schemas.microsoft.com/office/powerpoint/2010/main" val="152016940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94702E-8E53-4918-B069-4BE4C5F12385}" type="datetimeFigureOut">
              <a:rPr lang="kk-KZ" smtClean="0"/>
              <a:pPr/>
              <a:t>16.06.2021</a:t>
            </a:fld>
            <a:endParaRPr lang="kk-KZ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k-KZ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093B22-D6B9-4C36-85F5-BA7E6A5BAC8C}" type="slidenum">
              <a:rPr lang="kk-KZ" smtClean="0"/>
              <a:pPr/>
              <a:t>‹#›</a:t>
            </a:fld>
            <a:endParaRPr lang="kk-KZ"/>
          </a:p>
        </p:txBody>
      </p:sp>
    </p:spTree>
    <p:extLst>
      <p:ext uri="{BB962C8B-B14F-4D97-AF65-F5344CB8AC3E}">
        <p14:creationId xmlns:p14="http://schemas.microsoft.com/office/powerpoint/2010/main" val="151347247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43890" y="503978"/>
            <a:ext cx="3483205" cy="1763924"/>
          </a:xfrm>
        </p:spPr>
        <p:txBody>
          <a:bodyPr anchor="b"/>
          <a:lstStyle>
            <a:lvl1pPr>
              <a:defRPr sz="3527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91306" y="1088455"/>
            <a:ext cx="5467380" cy="5372269"/>
          </a:xfrm>
        </p:spPr>
        <p:txBody>
          <a:bodyPr/>
          <a:lstStyle>
            <a:lvl1pPr>
              <a:defRPr sz="3527"/>
            </a:lvl1pPr>
            <a:lvl2pPr>
              <a:defRPr sz="3086"/>
            </a:lvl2pPr>
            <a:lvl3pPr>
              <a:defRPr sz="2646"/>
            </a:lvl3pPr>
            <a:lvl4pPr>
              <a:defRPr sz="2205"/>
            </a:lvl4pPr>
            <a:lvl5pPr>
              <a:defRPr sz="2205"/>
            </a:lvl5pPr>
            <a:lvl6pPr>
              <a:defRPr sz="2205"/>
            </a:lvl6pPr>
            <a:lvl7pPr>
              <a:defRPr sz="2205"/>
            </a:lvl7pPr>
            <a:lvl8pPr>
              <a:defRPr sz="2205"/>
            </a:lvl8pPr>
            <a:lvl9pPr>
              <a:defRPr sz="2205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743890" y="2267902"/>
            <a:ext cx="3483205" cy="4201570"/>
          </a:xfrm>
        </p:spPr>
        <p:txBody>
          <a:bodyPr/>
          <a:lstStyle>
            <a:lvl1pPr marL="0" indent="0">
              <a:buNone/>
              <a:defRPr sz="1764"/>
            </a:lvl1pPr>
            <a:lvl2pPr marL="503972" indent="0">
              <a:buNone/>
              <a:defRPr sz="1543"/>
            </a:lvl2pPr>
            <a:lvl3pPr marL="1007943" indent="0">
              <a:buNone/>
              <a:defRPr sz="1323"/>
            </a:lvl3pPr>
            <a:lvl4pPr marL="1511915" indent="0">
              <a:buNone/>
              <a:defRPr sz="1102"/>
            </a:lvl4pPr>
            <a:lvl5pPr marL="2015886" indent="0">
              <a:buNone/>
              <a:defRPr sz="1102"/>
            </a:lvl5pPr>
            <a:lvl6pPr marL="2519858" indent="0">
              <a:buNone/>
              <a:defRPr sz="1102"/>
            </a:lvl6pPr>
            <a:lvl7pPr marL="3023829" indent="0">
              <a:buNone/>
              <a:defRPr sz="1102"/>
            </a:lvl7pPr>
            <a:lvl8pPr marL="3527801" indent="0">
              <a:buNone/>
              <a:defRPr sz="1102"/>
            </a:lvl8pPr>
            <a:lvl9pPr marL="4031772" indent="0">
              <a:buNone/>
              <a:defRPr sz="1102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94702E-8E53-4918-B069-4BE4C5F12385}" type="datetimeFigureOut">
              <a:rPr lang="kk-KZ" smtClean="0"/>
              <a:pPr/>
              <a:t>16.06.2021</a:t>
            </a:fld>
            <a:endParaRPr lang="kk-KZ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k-KZ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093B22-D6B9-4C36-85F5-BA7E6A5BAC8C}" type="slidenum">
              <a:rPr lang="kk-KZ" smtClean="0"/>
              <a:pPr/>
              <a:t>‹#›</a:t>
            </a:fld>
            <a:endParaRPr lang="kk-KZ"/>
          </a:p>
        </p:txBody>
      </p:sp>
    </p:spTree>
    <p:extLst>
      <p:ext uri="{BB962C8B-B14F-4D97-AF65-F5344CB8AC3E}">
        <p14:creationId xmlns:p14="http://schemas.microsoft.com/office/powerpoint/2010/main" val="124627525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43890" y="503978"/>
            <a:ext cx="3483205" cy="1763924"/>
          </a:xfrm>
        </p:spPr>
        <p:txBody>
          <a:bodyPr anchor="b"/>
          <a:lstStyle>
            <a:lvl1pPr>
              <a:defRPr sz="3527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4591306" y="1088455"/>
            <a:ext cx="5467380" cy="5372269"/>
          </a:xfrm>
        </p:spPr>
        <p:txBody>
          <a:bodyPr anchor="t"/>
          <a:lstStyle>
            <a:lvl1pPr marL="0" indent="0">
              <a:buNone/>
              <a:defRPr sz="3527"/>
            </a:lvl1pPr>
            <a:lvl2pPr marL="503972" indent="0">
              <a:buNone/>
              <a:defRPr sz="3086"/>
            </a:lvl2pPr>
            <a:lvl3pPr marL="1007943" indent="0">
              <a:buNone/>
              <a:defRPr sz="2646"/>
            </a:lvl3pPr>
            <a:lvl4pPr marL="1511915" indent="0">
              <a:buNone/>
              <a:defRPr sz="2205"/>
            </a:lvl4pPr>
            <a:lvl5pPr marL="2015886" indent="0">
              <a:buNone/>
              <a:defRPr sz="2205"/>
            </a:lvl5pPr>
            <a:lvl6pPr marL="2519858" indent="0">
              <a:buNone/>
              <a:defRPr sz="2205"/>
            </a:lvl6pPr>
            <a:lvl7pPr marL="3023829" indent="0">
              <a:buNone/>
              <a:defRPr sz="2205"/>
            </a:lvl7pPr>
            <a:lvl8pPr marL="3527801" indent="0">
              <a:buNone/>
              <a:defRPr sz="2205"/>
            </a:lvl8pPr>
            <a:lvl9pPr marL="4031772" indent="0">
              <a:buNone/>
              <a:defRPr sz="2205"/>
            </a:lvl9pPr>
          </a:lstStyle>
          <a:p>
            <a:r>
              <a:rPr lang="ru-RU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743890" y="2267902"/>
            <a:ext cx="3483205" cy="4201570"/>
          </a:xfrm>
        </p:spPr>
        <p:txBody>
          <a:bodyPr/>
          <a:lstStyle>
            <a:lvl1pPr marL="0" indent="0">
              <a:buNone/>
              <a:defRPr sz="1764"/>
            </a:lvl1pPr>
            <a:lvl2pPr marL="503972" indent="0">
              <a:buNone/>
              <a:defRPr sz="1543"/>
            </a:lvl2pPr>
            <a:lvl3pPr marL="1007943" indent="0">
              <a:buNone/>
              <a:defRPr sz="1323"/>
            </a:lvl3pPr>
            <a:lvl4pPr marL="1511915" indent="0">
              <a:buNone/>
              <a:defRPr sz="1102"/>
            </a:lvl4pPr>
            <a:lvl5pPr marL="2015886" indent="0">
              <a:buNone/>
              <a:defRPr sz="1102"/>
            </a:lvl5pPr>
            <a:lvl6pPr marL="2519858" indent="0">
              <a:buNone/>
              <a:defRPr sz="1102"/>
            </a:lvl6pPr>
            <a:lvl7pPr marL="3023829" indent="0">
              <a:buNone/>
              <a:defRPr sz="1102"/>
            </a:lvl7pPr>
            <a:lvl8pPr marL="3527801" indent="0">
              <a:buNone/>
              <a:defRPr sz="1102"/>
            </a:lvl8pPr>
            <a:lvl9pPr marL="4031772" indent="0">
              <a:buNone/>
              <a:defRPr sz="1102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94702E-8E53-4918-B069-4BE4C5F12385}" type="datetimeFigureOut">
              <a:rPr lang="kk-KZ" smtClean="0"/>
              <a:pPr/>
              <a:t>16.06.2021</a:t>
            </a:fld>
            <a:endParaRPr lang="kk-KZ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k-KZ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093B22-D6B9-4C36-85F5-BA7E6A5BAC8C}" type="slidenum">
              <a:rPr lang="kk-KZ" smtClean="0"/>
              <a:pPr/>
              <a:t>‹#›</a:t>
            </a:fld>
            <a:endParaRPr lang="kk-KZ"/>
          </a:p>
        </p:txBody>
      </p:sp>
    </p:spTree>
    <p:extLst>
      <p:ext uri="{BB962C8B-B14F-4D97-AF65-F5344CB8AC3E}">
        <p14:creationId xmlns:p14="http://schemas.microsoft.com/office/powerpoint/2010/main" val="245802119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42484" y="402484"/>
            <a:ext cx="9314796" cy="14611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42484" y="2012414"/>
            <a:ext cx="9314796" cy="479654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42484" y="7006700"/>
            <a:ext cx="2429947" cy="4024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323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494702E-8E53-4918-B069-4BE4C5F12385}" type="datetimeFigureOut">
              <a:rPr lang="kk-KZ" smtClean="0"/>
              <a:pPr/>
              <a:t>16.06.2021</a:t>
            </a:fld>
            <a:endParaRPr lang="kk-K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577422" y="7006700"/>
            <a:ext cx="3644920" cy="4024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323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kk-K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627332" y="7006700"/>
            <a:ext cx="2429947" cy="4024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23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D093B22-D6B9-4C36-85F5-BA7E6A5BAC8C}" type="slidenum">
              <a:rPr lang="kk-KZ" smtClean="0"/>
              <a:pPr/>
              <a:t>‹#›</a:t>
            </a:fld>
            <a:endParaRPr lang="kk-KZ"/>
          </a:p>
        </p:txBody>
      </p:sp>
    </p:spTree>
    <p:extLst>
      <p:ext uri="{BB962C8B-B14F-4D97-AF65-F5344CB8AC3E}">
        <p14:creationId xmlns:p14="http://schemas.microsoft.com/office/powerpoint/2010/main" val="26647374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</p:sldLayoutIdLst>
  <p:txStyles>
    <p:titleStyle>
      <a:lvl1pPr algn="l" defTabSz="1007943" rtl="0" eaLnBrk="1" latinLnBrk="0" hangingPunct="1">
        <a:lnSpc>
          <a:spcPct val="90000"/>
        </a:lnSpc>
        <a:spcBef>
          <a:spcPct val="0"/>
        </a:spcBef>
        <a:buNone/>
        <a:defRPr sz="485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1986" indent="-251986" algn="l" defTabSz="1007943" rtl="0" eaLnBrk="1" latinLnBrk="0" hangingPunct="1">
        <a:lnSpc>
          <a:spcPct val="90000"/>
        </a:lnSpc>
        <a:spcBef>
          <a:spcPts val="1102"/>
        </a:spcBef>
        <a:buFont typeface="Arial" panose="020B0604020202020204" pitchFamily="34" charset="0"/>
        <a:buChar char="•"/>
        <a:defRPr sz="3086" kern="1200">
          <a:solidFill>
            <a:schemeClr val="tx1"/>
          </a:solidFill>
          <a:latin typeface="+mn-lt"/>
          <a:ea typeface="+mn-ea"/>
          <a:cs typeface="+mn-cs"/>
        </a:defRPr>
      </a:lvl1pPr>
      <a:lvl2pPr marL="755957" indent="-251986" algn="l" defTabSz="1007943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2646" kern="1200">
          <a:solidFill>
            <a:schemeClr val="tx1"/>
          </a:solidFill>
          <a:latin typeface="+mn-lt"/>
          <a:ea typeface="+mn-ea"/>
          <a:cs typeface="+mn-cs"/>
        </a:defRPr>
      </a:lvl2pPr>
      <a:lvl3pPr marL="1259929" indent="-251986" algn="l" defTabSz="1007943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2205" kern="1200">
          <a:solidFill>
            <a:schemeClr val="tx1"/>
          </a:solidFill>
          <a:latin typeface="+mn-lt"/>
          <a:ea typeface="+mn-ea"/>
          <a:cs typeface="+mn-cs"/>
        </a:defRPr>
      </a:lvl3pPr>
      <a:lvl4pPr marL="1763900" indent="-251986" algn="l" defTabSz="1007943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4" kern="1200">
          <a:solidFill>
            <a:schemeClr val="tx1"/>
          </a:solidFill>
          <a:latin typeface="+mn-lt"/>
          <a:ea typeface="+mn-ea"/>
          <a:cs typeface="+mn-cs"/>
        </a:defRPr>
      </a:lvl4pPr>
      <a:lvl5pPr marL="2267872" indent="-251986" algn="l" defTabSz="1007943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4" kern="1200">
          <a:solidFill>
            <a:schemeClr val="tx1"/>
          </a:solidFill>
          <a:latin typeface="+mn-lt"/>
          <a:ea typeface="+mn-ea"/>
          <a:cs typeface="+mn-cs"/>
        </a:defRPr>
      </a:lvl5pPr>
      <a:lvl6pPr marL="2771844" indent="-251986" algn="l" defTabSz="1007943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4" kern="1200">
          <a:solidFill>
            <a:schemeClr val="tx1"/>
          </a:solidFill>
          <a:latin typeface="+mn-lt"/>
          <a:ea typeface="+mn-ea"/>
          <a:cs typeface="+mn-cs"/>
        </a:defRPr>
      </a:lvl6pPr>
      <a:lvl7pPr marL="3275815" indent="-251986" algn="l" defTabSz="1007943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4" kern="1200">
          <a:solidFill>
            <a:schemeClr val="tx1"/>
          </a:solidFill>
          <a:latin typeface="+mn-lt"/>
          <a:ea typeface="+mn-ea"/>
          <a:cs typeface="+mn-cs"/>
        </a:defRPr>
      </a:lvl7pPr>
      <a:lvl8pPr marL="3779787" indent="-251986" algn="l" defTabSz="1007943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4" kern="1200">
          <a:solidFill>
            <a:schemeClr val="tx1"/>
          </a:solidFill>
          <a:latin typeface="+mn-lt"/>
          <a:ea typeface="+mn-ea"/>
          <a:cs typeface="+mn-cs"/>
        </a:defRPr>
      </a:lvl8pPr>
      <a:lvl9pPr marL="4283758" indent="-251986" algn="l" defTabSz="1007943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1pPr>
      <a:lvl2pPr marL="503972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2pPr>
      <a:lvl3pPr marL="1007943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3pPr>
      <a:lvl4pPr marL="1511915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4pPr>
      <a:lvl5pPr marL="2015886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5pPr>
      <a:lvl6pPr marL="2519858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6pPr>
      <a:lvl7pPr marL="3023829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7pPr>
      <a:lvl8pPr marL="3527801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8pPr>
      <a:lvl9pPr marL="4031772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1.sv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13" Type="http://schemas.openxmlformats.org/officeDocument/2006/relationships/image" Target="../media/image12.png"/><Relationship Id="rId18" Type="http://schemas.openxmlformats.org/officeDocument/2006/relationships/image" Target="../media/image17.png"/><Relationship Id="rId3" Type="http://schemas.openxmlformats.org/officeDocument/2006/relationships/slideLayout" Target="../slideLayouts/slideLayout12.xml"/><Relationship Id="rId21" Type="http://schemas.openxmlformats.org/officeDocument/2006/relationships/image" Target="../media/image20.png"/><Relationship Id="rId7" Type="http://schemas.openxmlformats.org/officeDocument/2006/relationships/image" Target="../media/image6.png"/><Relationship Id="rId12" Type="http://schemas.openxmlformats.org/officeDocument/2006/relationships/image" Target="../media/image11.png"/><Relationship Id="rId17" Type="http://schemas.openxmlformats.org/officeDocument/2006/relationships/image" Target="../media/image16.png"/><Relationship Id="rId2" Type="http://schemas.openxmlformats.org/officeDocument/2006/relationships/tags" Target="../tags/tag2.xml"/><Relationship Id="rId16" Type="http://schemas.openxmlformats.org/officeDocument/2006/relationships/image" Target="../media/image15.png"/><Relationship Id="rId20" Type="http://schemas.openxmlformats.org/officeDocument/2006/relationships/image" Target="../media/image19.png"/><Relationship Id="rId1" Type="http://schemas.openxmlformats.org/officeDocument/2006/relationships/vmlDrawing" Target="../drawings/vmlDrawing2.vml"/><Relationship Id="rId6" Type="http://schemas.openxmlformats.org/officeDocument/2006/relationships/image" Target="../media/image5.emf"/><Relationship Id="rId11" Type="http://schemas.openxmlformats.org/officeDocument/2006/relationships/image" Target="../media/image10.png"/><Relationship Id="rId24" Type="http://schemas.openxmlformats.org/officeDocument/2006/relationships/image" Target="../media/image22.png"/><Relationship Id="rId5" Type="http://schemas.openxmlformats.org/officeDocument/2006/relationships/oleObject" Target="../embeddings/oleObject2.bin"/><Relationship Id="rId15" Type="http://schemas.openxmlformats.org/officeDocument/2006/relationships/image" Target="../media/image14.png"/><Relationship Id="rId23" Type="http://schemas.openxmlformats.org/officeDocument/2006/relationships/image" Target="../media/image4.png"/><Relationship Id="rId10" Type="http://schemas.openxmlformats.org/officeDocument/2006/relationships/image" Target="../media/image9.png"/><Relationship Id="rId19" Type="http://schemas.openxmlformats.org/officeDocument/2006/relationships/image" Target="../media/image18.png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8.png"/><Relationship Id="rId14" Type="http://schemas.openxmlformats.org/officeDocument/2006/relationships/image" Target="../media/image13.png"/><Relationship Id="rId22" Type="http://schemas.openxmlformats.org/officeDocument/2006/relationships/image" Target="../media/image21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e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7.png"/><Relationship Id="rId5" Type="http://schemas.openxmlformats.org/officeDocument/2006/relationships/image" Target="../media/image26.png"/><Relationship Id="rId4" Type="http://schemas.openxmlformats.org/officeDocument/2006/relationships/image" Target="../media/image25.jpe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reeform 2">
            <a:extLst>
              <a:ext uri="{FF2B5EF4-FFF2-40B4-BE49-F238E27FC236}">
                <a16:creationId xmlns:a16="http://schemas.microsoft.com/office/drawing/2014/main" id="{48ACD8F3-26C4-4DA7-B36B-CB4C16662F6F}"/>
              </a:ext>
            </a:extLst>
          </p:cNvPr>
          <p:cNvSpPr/>
          <p:nvPr/>
        </p:nvSpPr>
        <p:spPr>
          <a:xfrm rot="5400000">
            <a:off x="6154628" y="5639782"/>
            <a:ext cx="1251121" cy="2573783"/>
          </a:xfrm>
          <a:custGeom>
            <a:avLst/>
            <a:gdLst>
              <a:gd name="connsiteX0" fmla="*/ 4420533 w 4420533"/>
              <a:gd name="connsiteY0" fmla="*/ 0 h 9093841"/>
              <a:gd name="connsiteX1" fmla="*/ 4420533 w 4420533"/>
              <a:gd name="connsiteY1" fmla="*/ 9093841 h 9093841"/>
              <a:gd name="connsiteX2" fmla="*/ 89371 w 4420533"/>
              <a:gd name="connsiteY2" fmla="*/ 4762680 h 9093841"/>
              <a:gd name="connsiteX3" fmla="*/ 89371 w 4420533"/>
              <a:gd name="connsiteY3" fmla="*/ 4331162 h 9093841"/>
              <a:gd name="connsiteX4" fmla="*/ 4420533 w 4420533"/>
              <a:gd name="connsiteY4" fmla="*/ 0 h 90938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420533" h="9093841">
                <a:moveTo>
                  <a:pt x="4420533" y="0"/>
                </a:moveTo>
                <a:lnTo>
                  <a:pt x="4420533" y="9093841"/>
                </a:lnTo>
                <a:lnTo>
                  <a:pt x="89371" y="4762680"/>
                </a:lnTo>
                <a:cubicBezTo>
                  <a:pt x="-29791" y="4643520"/>
                  <a:pt x="-29791" y="4450323"/>
                  <a:pt x="89371" y="4331162"/>
                </a:cubicBezTo>
                <a:lnTo>
                  <a:pt x="4420533" y="0"/>
                </a:lnTo>
                <a:close/>
              </a:path>
            </a:pathLst>
          </a:custGeom>
          <a:solidFill>
            <a:srgbClr val="F4F4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63"/>
          </a:p>
        </p:txBody>
      </p:sp>
      <p:sp>
        <p:nvSpPr>
          <p:cNvPr id="16" name="Freeform 2">
            <a:extLst>
              <a:ext uri="{FF2B5EF4-FFF2-40B4-BE49-F238E27FC236}">
                <a16:creationId xmlns:a16="http://schemas.microsoft.com/office/drawing/2014/main" id="{28861135-DFDC-428B-842C-C9E48ACFAF55}"/>
              </a:ext>
            </a:extLst>
          </p:cNvPr>
          <p:cNvSpPr/>
          <p:nvPr/>
        </p:nvSpPr>
        <p:spPr>
          <a:xfrm rot="16200000">
            <a:off x="3618289" y="-1031133"/>
            <a:ext cx="1950720" cy="4012984"/>
          </a:xfrm>
          <a:custGeom>
            <a:avLst/>
            <a:gdLst>
              <a:gd name="connsiteX0" fmla="*/ 4420533 w 4420533"/>
              <a:gd name="connsiteY0" fmla="*/ 0 h 9093841"/>
              <a:gd name="connsiteX1" fmla="*/ 4420533 w 4420533"/>
              <a:gd name="connsiteY1" fmla="*/ 9093841 h 9093841"/>
              <a:gd name="connsiteX2" fmla="*/ 89371 w 4420533"/>
              <a:gd name="connsiteY2" fmla="*/ 4762680 h 9093841"/>
              <a:gd name="connsiteX3" fmla="*/ 89371 w 4420533"/>
              <a:gd name="connsiteY3" fmla="*/ 4331162 h 9093841"/>
              <a:gd name="connsiteX4" fmla="*/ 4420533 w 4420533"/>
              <a:gd name="connsiteY4" fmla="*/ 0 h 90938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420533" h="9093841">
                <a:moveTo>
                  <a:pt x="4420533" y="0"/>
                </a:moveTo>
                <a:lnTo>
                  <a:pt x="4420533" y="9093841"/>
                </a:lnTo>
                <a:lnTo>
                  <a:pt x="89371" y="4762680"/>
                </a:lnTo>
                <a:cubicBezTo>
                  <a:pt x="-29791" y="4643520"/>
                  <a:pt x="-29791" y="4450323"/>
                  <a:pt x="89371" y="4331162"/>
                </a:cubicBezTo>
                <a:lnTo>
                  <a:pt x="4420533" y="0"/>
                </a:lnTo>
                <a:close/>
              </a:path>
            </a:pathLst>
          </a:custGeom>
          <a:solidFill>
            <a:srgbClr val="F4F4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63"/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978"/>
          <a:stretch/>
        </p:blipFill>
        <p:spPr>
          <a:xfrm>
            <a:off x="5247518" y="694398"/>
            <a:ext cx="5552243" cy="5787682"/>
          </a:xfrm>
          <a:prstGeom prst="rect">
            <a:avLst/>
          </a:prstGeom>
        </p:spPr>
      </p:pic>
      <p:sp>
        <p:nvSpPr>
          <p:cNvPr id="12" name="Freeform 2"/>
          <p:cNvSpPr/>
          <p:nvPr/>
        </p:nvSpPr>
        <p:spPr>
          <a:xfrm rot="10800000">
            <a:off x="0" y="698336"/>
            <a:ext cx="2953004" cy="6074866"/>
          </a:xfrm>
          <a:custGeom>
            <a:avLst/>
            <a:gdLst>
              <a:gd name="connsiteX0" fmla="*/ 4420533 w 4420533"/>
              <a:gd name="connsiteY0" fmla="*/ 0 h 9093841"/>
              <a:gd name="connsiteX1" fmla="*/ 4420533 w 4420533"/>
              <a:gd name="connsiteY1" fmla="*/ 9093841 h 9093841"/>
              <a:gd name="connsiteX2" fmla="*/ 89371 w 4420533"/>
              <a:gd name="connsiteY2" fmla="*/ 4762680 h 9093841"/>
              <a:gd name="connsiteX3" fmla="*/ 89371 w 4420533"/>
              <a:gd name="connsiteY3" fmla="*/ 4331162 h 9093841"/>
              <a:gd name="connsiteX4" fmla="*/ 4420533 w 4420533"/>
              <a:gd name="connsiteY4" fmla="*/ 0 h 90938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420533" h="9093841">
                <a:moveTo>
                  <a:pt x="4420533" y="0"/>
                </a:moveTo>
                <a:lnTo>
                  <a:pt x="4420533" y="9093841"/>
                </a:lnTo>
                <a:lnTo>
                  <a:pt x="89371" y="4762680"/>
                </a:lnTo>
                <a:cubicBezTo>
                  <a:pt x="-29791" y="4643520"/>
                  <a:pt x="-29791" y="4450323"/>
                  <a:pt x="89371" y="4331162"/>
                </a:cubicBezTo>
                <a:lnTo>
                  <a:pt x="4420533" y="0"/>
                </a:lnTo>
                <a:close/>
              </a:path>
            </a:pathLst>
          </a:custGeom>
          <a:solidFill>
            <a:srgbClr val="F4F4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63"/>
          </a:p>
        </p:txBody>
      </p:sp>
      <p:grpSp>
        <p:nvGrpSpPr>
          <p:cNvPr id="24" name="Группа 23"/>
          <p:cNvGrpSpPr/>
          <p:nvPr/>
        </p:nvGrpSpPr>
        <p:grpSpPr>
          <a:xfrm>
            <a:off x="421418" y="3285096"/>
            <a:ext cx="1376902" cy="160553"/>
            <a:chOff x="1115842" y="6303923"/>
            <a:chExt cx="2067647" cy="241096"/>
          </a:xfrm>
        </p:grpSpPr>
        <p:sp>
          <p:nvSpPr>
            <p:cNvPr id="19" name="Rounded Rectangle 46"/>
            <p:cNvSpPr/>
            <p:nvPr/>
          </p:nvSpPr>
          <p:spPr>
            <a:xfrm rot="18900000">
              <a:off x="1115842" y="6303923"/>
              <a:ext cx="243531" cy="241095"/>
            </a:xfrm>
            <a:prstGeom prst="roundRect">
              <a:avLst/>
            </a:prstGeom>
            <a:solidFill>
              <a:srgbClr val="0F6FC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63">
                <a:solidFill>
                  <a:schemeClr val="tx1"/>
                </a:solidFill>
              </a:endParaRPr>
            </a:p>
          </p:txBody>
        </p:sp>
        <p:sp>
          <p:nvSpPr>
            <p:cNvPr id="20" name="Rounded Rectangle 46"/>
            <p:cNvSpPr/>
            <p:nvPr/>
          </p:nvSpPr>
          <p:spPr>
            <a:xfrm rot="18900000">
              <a:off x="1571871" y="6303924"/>
              <a:ext cx="243531" cy="241095"/>
            </a:xfrm>
            <a:prstGeom prst="roundRect">
              <a:avLst/>
            </a:prstGeom>
            <a:solidFill>
              <a:srgbClr val="019DD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63" dirty="0">
                <a:solidFill>
                  <a:schemeClr val="tx1"/>
                </a:solidFill>
              </a:endParaRPr>
            </a:p>
          </p:txBody>
        </p:sp>
        <p:sp>
          <p:nvSpPr>
            <p:cNvPr id="21" name="Rounded Rectangle 46"/>
            <p:cNvSpPr/>
            <p:nvPr/>
          </p:nvSpPr>
          <p:spPr>
            <a:xfrm rot="18900000">
              <a:off x="2027900" y="6303923"/>
              <a:ext cx="243531" cy="241095"/>
            </a:xfrm>
            <a:prstGeom prst="roundRect">
              <a:avLst/>
            </a:prstGeom>
            <a:solidFill>
              <a:srgbClr val="0BD0D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63">
                <a:solidFill>
                  <a:schemeClr val="tx1"/>
                </a:solidFill>
              </a:endParaRPr>
            </a:p>
          </p:txBody>
        </p:sp>
        <p:sp>
          <p:nvSpPr>
            <p:cNvPr id="22" name="Rounded Rectangle 46"/>
            <p:cNvSpPr/>
            <p:nvPr/>
          </p:nvSpPr>
          <p:spPr>
            <a:xfrm rot="18900000">
              <a:off x="2483929" y="6303924"/>
              <a:ext cx="243531" cy="241095"/>
            </a:xfrm>
            <a:prstGeom prst="roundRect">
              <a:avLst/>
            </a:prstGeom>
            <a:solidFill>
              <a:srgbClr val="10CF9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63">
                <a:solidFill>
                  <a:schemeClr val="tx1"/>
                </a:solidFill>
              </a:endParaRPr>
            </a:p>
          </p:txBody>
        </p:sp>
        <p:sp>
          <p:nvSpPr>
            <p:cNvPr id="23" name="Rounded Rectangle 46"/>
            <p:cNvSpPr/>
            <p:nvPr/>
          </p:nvSpPr>
          <p:spPr>
            <a:xfrm rot="18900000">
              <a:off x="2939958" y="6303923"/>
              <a:ext cx="243531" cy="241095"/>
            </a:xfrm>
            <a:prstGeom prst="roundRect">
              <a:avLst/>
            </a:prstGeom>
            <a:solidFill>
              <a:srgbClr val="7CCC6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63">
                <a:solidFill>
                  <a:schemeClr val="tx1"/>
                </a:solidFill>
              </a:endParaRPr>
            </a:p>
          </p:txBody>
        </p:sp>
      </p:grpSp>
      <p:sp>
        <p:nvSpPr>
          <p:cNvPr id="11" name="object 5">
            <a:extLst>
              <a:ext uri="{FF2B5EF4-FFF2-40B4-BE49-F238E27FC236}">
                <a16:creationId xmlns:a16="http://schemas.microsoft.com/office/drawing/2014/main" id="{673C0077-D505-421B-B346-5993FD1EB40B}"/>
              </a:ext>
            </a:extLst>
          </p:cNvPr>
          <p:cNvSpPr txBox="1"/>
          <p:nvPr/>
        </p:nvSpPr>
        <p:spPr>
          <a:xfrm>
            <a:off x="371491" y="2306888"/>
            <a:ext cx="3644387" cy="564096"/>
          </a:xfrm>
          <a:prstGeom prst="rect">
            <a:avLst/>
          </a:prstGeom>
        </p:spPr>
        <p:txBody>
          <a:bodyPr vert="horz" wrap="square" lIns="0" tIns="10001" rIns="0" bIns="0" rtlCol="0">
            <a:spAutoFit/>
          </a:bodyPr>
          <a:lstStyle/>
          <a:p>
            <a:pPr marL="9525">
              <a:spcBef>
                <a:spcPts val="79"/>
              </a:spcBef>
            </a:pPr>
            <a:r>
              <a:rPr lang="ru-RU" spc="-4" dirty="0">
                <a:solidFill>
                  <a:srgbClr val="465161"/>
                </a:solidFill>
                <a:latin typeface="Tahoma"/>
                <a:cs typeface="Tahoma"/>
              </a:rPr>
              <a:t>Қазақстан Республикасының Денсаулық сақтау </a:t>
            </a:r>
            <a:r>
              <a:rPr lang="ru-RU" spc="-4" dirty="0" err="1">
                <a:solidFill>
                  <a:srgbClr val="465161"/>
                </a:solidFill>
                <a:latin typeface="Tahoma"/>
                <a:cs typeface="Tahoma"/>
              </a:rPr>
              <a:t>министрлігі</a:t>
            </a:r>
            <a:endParaRPr lang="ru-RU" spc="-4" dirty="0">
              <a:solidFill>
                <a:srgbClr val="465161"/>
              </a:solidFill>
              <a:latin typeface="Tahoma"/>
              <a:cs typeface="Tahoma"/>
            </a:endParaRPr>
          </a:p>
        </p:txBody>
      </p:sp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E9DE0CB5-7A57-4880-A673-E289084554C8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288" y="1207851"/>
            <a:ext cx="883328" cy="910031"/>
          </a:xfrm>
          <a:prstGeom prst="rect">
            <a:avLst/>
          </a:prstGeom>
        </p:spPr>
      </p:pic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353D5C0C-43CB-446B-A578-2955E4286A81}"/>
              </a:ext>
            </a:extLst>
          </p:cNvPr>
          <p:cNvSpPr/>
          <p:nvPr/>
        </p:nvSpPr>
        <p:spPr>
          <a:xfrm>
            <a:off x="299341" y="3588239"/>
            <a:ext cx="4948177" cy="20621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ru-RU" sz="32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ДЕНСАУЛЫҚ САҚТАУ САЛАСЫНДАҒЫ ЦИФРЛАНДЫРУДЫ ДАМЫТУ</a:t>
            </a:r>
          </a:p>
        </p:txBody>
      </p:sp>
    </p:spTree>
    <p:extLst>
      <p:ext uri="{BB962C8B-B14F-4D97-AF65-F5344CB8AC3E}">
        <p14:creationId xmlns:p14="http://schemas.microsoft.com/office/powerpoint/2010/main" val="243417993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" name="Равнобедренный треугольник 74">
            <a:extLst>
              <a:ext uri="{FF2B5EF4-FFF2-40B4-BE49-F238E27FC236}">
                <a16:creationId xmlns:a16="http://schemas.microsoft.com/office/drawing/2014/main" id="{42F815E4-3504-4D40-8EFD-0B969FBDFCE1}"/>
              </a:ext>
            </a:extLst>
          </p:cNvPr>
          <p:cNvSpPr/>
          <p:nvPr/>
        </p:nvSpPr>
        <p:spPr>
          <a:xfrm rot="5400000">
            <a:off x="5430583" y="1573678"/>
            <a:ext cx="809041" cy="697447"/>
          </a:xfrm>
          <a:prstGeom prst="triangle">
            <a:avLst/>
          </a:prstGeom>
          <a:solidFill>
            <a:srgbClr val="D9D9D9">
              <a:alpha val="60000"/>
            </a:srgb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sz="1412"/>
          </a:p>
        </p:txBody>
      </p:sp>
      <p:cxnSp>
        <p:nvCxnSpPr>
          <p:cNvPr id="7" name="Прямая соединительная линия 6"/>
          <p:cNvCxnSpPr>
            <a:cxnSpLocks/>
          </p:cNvCxnSpPr>
          <p:nvPr/>
        </p:nvCxnSpPr>
        <p:spPr>
          <a:xfrm flipV="1">
            <a:off x="434683" y="394778"/>
            <a:ext cx="0" cy="579363"/>
          </a:xfrm>
          <a:prstGeom prst="line">
            <a:avLst/>
          </a:prstGeom>
          <a:ln w="57150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Прямая соединительная линия 39">
            <a:extLst>
              <a:ext uri="{FF2B5EF4-FFF2-40B4-BE49-F238E27FC236}">
                <a16:creationId xmlns:a16="http://schemas.microsoft.com/office/drawing/2014/main" id="{E3AF6081-F616-4A92-A881-90BCE3E0856B}"/>
              </a:ext>
            </a:extLst>
          </p:cNvPr>
          <p:cNvCxnSpPr>
            <a:cxnSpLocks/>
          </p:cNvCxnSpPr>
          <p:nvPr/>
        </p:nvCxnSpPr>
        <p:spPr>
          <a:xfrm>
            <a:off x="419736" y="1150489"/>
            <a:ext cx="9822895" cy="0"/>
          </a:xfrm>
          <a:prstGeom prst="line">
            <a:avLst/>
          </a:prstGeom>
          <a:ln w="25400">
            <a:solidFill>
              <a:schemeClr val="bg1">
                <a:lumMod val="85000"/>
              </a:schemeClr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3F008399-A7C4-4A23-8E4F-D2E52471DA66}"/>
              </a:ext>
            </a:extLst>
          </p:cNvPr>
          <p:cNvSpPr/>
          <p:nvPr/>
        </p:nvSpPr>
        <p:spPr>
          <a:xfrm>
            <a:off x="485918" y="251116"/>
            <a:ext cx="7154843" cy="8556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709"/>
              </a:spcAft>
            </a:pPr>
            <a:r>
              <a:rPr lang="ru-RU" sz="2480" b="1" spc="-6" dirty="0">
                <a:latin typeface="Tahoma"/>
                <a:cs typeface="Tahoma"/>
              </a:rPr>
              <a:t>РЭДСО ТРАНСФОРМАЦИЯСЫ ЖӘНЕ ҚЫЗМЕТТЕГІ </a:t>
            </a:r>
            <a:r>
              <a:rPr lang="ru-RU" sz="2480" b="1" spc="-6">
                <a:latin typeface="Tahoma"/>
                <a:cs typeface="Tahoma"/>
              </a:rPr>
              <a:t>ЖАҢА БАҒЫТТАР</a:t>
            </a:r>
            <a:endParaRPr lang="ru-RU" sz="2480" b="1" spc="-6" dirty="0">
              <a:latin typeface="Tahoma"/>
              <a:cs typeface="Tahoma"/>
            </a:endParaRPr>
          </a:p>
        </p:txBody>
      </p:sp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B9B01F71-C8E0-46CC-B017-58786F179BEC}"/>
              </a:ext>
            </a:extLst>
          </p:cNvPr>
          <p:cNvSpPr/>
          <p:nvPr/>
        </p:nvSpPr>
        <p:spPr>
          <a:xfrm>
            <a:off x="1304971" y="1533422"/>
            <a:ext cx="4578649" cy="746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>
                <a:latin typeface="Verdana" panose="020B0604030504040204" pitchFamily="34" charset="0"/>
                <a:ea typeface="Verdana" panose="020B0604030504040204" pitchFamily="34" charset="0"/>
              </a:rPr>
              <a:t>РЭДСО  ШЖҚ РМК -дан </a:t>
            </a:r>
            <a:r>
              <a:rPr lang="ru-RU" sz="1400" b="1" dirty="0">
                <a:solidFill>
                  <a:srgbClr val="00B0F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«</a:t>
            </a:r>
            <a:r>
              <a:rPr lang="ru-RU" sz="1400" b="1" dirty="0" err="1">
                <a:solidFill>
                  <a:srgbClr val="00B0F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Электрондық</a:t>
            </a:r>
            <a:r>
              <a:rPr lang="ru-RU" sz="1400" b="1" dirty="0">
                <a:solidFill>
                  <a:srgbClr val="00B0F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lang="ru-RU" sz="1400" b="1" dirty="0" err="1">
                <a:solidFill>
                  <a:srgbClr val="00B0F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денсаулық</a:t>
            </a:r>
            <a:r>
              <a:rPr lang="ru-RU" sz="1400" b="1" dirty="0">
                <a:solidFill>
                  <a:srgbClr val="00B0F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сақтау </a:t>
            </a:r>
            <a:r>
              <a:rPr lang="ru-RU" sz="1400" b="1" dirty="0" err="1">
                <a:solidFill>
                  <a:srgbClr val="00B0F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орталығы</a:t>
            </a:r>
            <a:r>
              <a:rPr lang="ru-RU" sz="1400" b="1" dirty="0">
                <a:solidFill>
                  <a:srgbClr val="00B0F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» </a:t>
            </a:r>
            <a:r>
              <a:rPr lang="ru-RU" sz="1400" b="1" dirty="0" err="1">
                <a:solidFill>
                  <a:srgbClr val="00B0F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КеАҚ-ға</a:t>
            </a:r>
            <a:r>
              <a:rPr lang="ru-RU" sz="1400" b="1" dirty="0">
                <a:solidFill>
                  <a:srgbClr val="00B0F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</a:p>
          <a:p>
            <a:r>
              <a:rPr lang="ru-RU" sz="1400" b="1" dirty="0" err="1">
                <a:solidFill>
                  <a:srgbClr val="00B0F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қайта</a:t>
            </a:r>
            <a:r>
              <a:rPr lang="ru-RU" sz="1400" b="1" dirty="0">
                <a:solidFill>
                  <a:srgbClr val="00B0F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lang="ru-RU" sz="1400" b="1" dirty="0" err="1">
                <a:solidFill>
                  <a:srgbClr val="00B0F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құру</a:t>
            </a:r>
            <a:r>
              <a:rPr lang="ru-RU" sz="1400" b="1" dirty="0">
                <a:solidFill>
                  <a:srgbClr val="00B0F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endParaRPr lang="ru-RU" sz="1400" dirty="0">
              <a:solidFill>
                <a:srgbClr val="00B0F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grpSp>
        <p:nvGrpSpPr>
          <p:cNvPr id="71" name="Группа 70">
            <a:extLst>
              <a:ext uri="{FF2B5EF4-FFF2-40B4-BE49-F238E27FC236}">
                <a16:creationId xmlns:a16="http://schemas.microsoft.com/office/drawing/2014/main" id="{E85B89D5-CCC4-4CB2-BE67-4E4E3FE4B5D8}"/>
              </a:ext>
            </a:extLst>
          </p:cNvPr>
          <p:cNvGrpSpPr/>
          <p:nvPr/>
        </p:nvGrpSpPr>
        <p:grpSpPr>
          <a:xfrm>
            <a:off x="424678" y="1512817"/>
            <a:ext cx="828946" cy="814104"/>
            <a:chOff x="392335" y="1654292"/>
            <a:chExt cx="1205591" cy="1184005"/>
          </a:xfrm>
        </p:grpSpPr>
        <p:sp>
          <p:nvSpPr>
            <p:cNvPr id="72" name="Равнобедренный треугольник 71">
              <a:extLst>
                <a:ext uri="{FF2B5EF4-FFF2-40B4-BE49-F238E27FC236}">
                  <a16:creationId xmlns:a16="http://schemas.microsoft.com/office/drawing/2014/main" id="{288CD593-AB2B-4C92-A30C-DC1FA02E0AB0}"/>
                </a:ext>
              </a:extLst>
            </p:cNvPr>
            <p:cNvSpPr/>
            <p:nvPr/>
          </p:nvSpPr>
          <p:spPr>
            <a:xfrm rot="5400000">
              <a:off x="502433" y="1742804"/>
              <a:ext cx="1176641" cy="1014345"/>
            </a:xfrm>
            <a:prstGeom prst="triangle">
              <a:avLst/>
            </a:prstGeom>
            <a:solidFill>
              <a:srgbClr val="00B0F0">
                <a:alpha val="30196"/>
              </a:srgbClr>
            </a:solidFill>
            <a:ln w="381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x-none" sz="1412"/>
            </a:p>
          </p:txBody>
        </p:sp>
        <p:sp>
          <p:nvSpPr>
            <p:cNvPr id="73" name="Равнобедренный треугольник 72">
              <a:extLst>
                <a:ext uri="{FF2B5EF4-FFF2-40B4-BE49-F238E27FC236}">
                  <a16:creationId xmlns:a16="http://schemas.microsoft.com/office/drawing/2014/main" id="{CD2D2D21-E64D-4D7B-B453-C879E1ED7A56}"/>
                </a:ext>
              </a:extLst>
            </p:cNvPr>
            <p:cNvSpPr/>
            <p:nvPr/>
          </p:nvSpPr>
          <p:spPr>
            <a:xfrm rot="5400000">
              <a:off x="311187" y="1735440"/>
              <a:ext cx="1176641" cy="1014345"/>
            </a:xfrm>
            <a:prstGeom prst="triangle">
              <a:avLst/>
            </a:prstGeom>
            <a:solidFill>
              <a:srgbClr val="00B0F0">
                <a:alpha val="50196"/>
              </a:srgbClr>
            </a:solidFill>
            <a:ln w="381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x-none" sz="1412"/>
            </a:p>
          </p:txBody>
        </p:sp>
      </p:grp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58609303-77A0-4ADC-B398-22F45A3B8E69}"/>
              </a:ext>
            </a:extLst>
          </p:cNvPr>
          <p:cNvSpPr/>
          <p:nvPr/>
        </p:nvSpPr>
        <p:spPr>
          <a:xfrm>
            <a:off x="5759873" y="1533421"/>
            <a:ext cx="3959913" cy="746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17" b="1" dirty="0">
                <a:latin typeface="Verdana" panose="020B0604030504040204" pitchFamily="34" charset="0"/>
                <a:ea typeface="Verdana" panose="020B0604030504040204" pitchFamily="34" charset="0"/>
              </a:rPr>
              <a:t>14 ДЗ СҰО АЖ, 14 ҚР ДСМ АЖ </a:t>
            </a:r>
            <a:r>
              <a:rPr lang="ru-RU" sz="1417" dirty="0" err="1">
                <a:latin typeface="Verdana" panose="020B0604030504040204" pitchFamily="34" charset="0"/>
                <a:ea typeface="Verdana" panose="020B0604030504040204" pitchFamily="34" charset="0"/>
              </a:rPr>
              <a:t>және</a:t>
            </a:r>
            <a:r>
              <a:rPr lang="ru-RU" sz="1417" dirty="0">
                <a:latin typeface="Verdana" panose="020B0604030504040204" pitchFamily="34" charset="0"/>
                <a:ea typeface="Verdana" panose="020B0604030504040204" pitchFamily="34" charset="0"/>
              </a:rPr>
              <a:t> т. б </a:t>
            </a:r>
            <a:r>
              <a:rPr lang="ru-RU" sz="1417" dirty="0" err="1">
                <a:latin typeface="Verdana" panose="020B0604030504040204" pitchFamily="34" charset="0"/>
                <a:ea typeface="Verdana" panose="020B0604030504040204" pitchFamily="34" charset="0"/>
              </a:rPr>
              <a:t>бойынша</a:t>
            </a:r>
            <a:r>
              <a:rPr lang="ru-RU" sz="1417" dirty="0"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lang="ru-RU" sz="1417" dirty="0" err="1">
                <a:latin typeface="Verdana" panose="020B0604030504040204" pitchFamily="34" charset="0"/>
                <a:ea typeface="Verdana" panose="020B0604030504040204" pitchFamily="34" charset="0"/>
              </a:rPr>
              <a:t>сенімгерлік</a:t>
            </a:r>
            <a:r>
              <a:rPr lang="ru-RU" sz="1417" dirty="0"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lang="ru-RU" sz="1417" dirty="0" err="1">
                <a:latin typeface="Verdana" panose="020B0604030504040204" pitchFamily="34" charset="0"/>
                <a:ea typeface="Verdana" panose="020B0604030504040204" pitchFamily="34" charset="0"/>
              </a:rPr>
              <a:t>басқаруға</a:t>
            </a:r>
            <a:r>
              <a:rPr lang="ru-RU" sz="1417" dirty="0"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lang="ru-RU" sz="1417" dirty="0" err="1">
                <a:latin typeface="Verdana" panose="020B0604030504040204" pitchFamily="34" charset="0"/>
                <a:ea typeface="Verdana" panose="020B0604030504040204" pitchFamily="34" charset="0"/>
              </a:rPr>
              <a:t>шарт</a:t>
            </a:r>
            <a:r>
              <a:rPr lang="ru-RU" sz="1417" dirty="0"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lang="ru-RU" sz="1417" dirty="0" err="1">
                <a:latin typeface="Verdana" panose="020B0604030504040204" pitchFamily="34" charset="0"/>
                <a:ea typeface="Verdana" panose="020B0604030504040204" pitchFamily="34" charset="0"/>
              </a:rPr>
              <a:t>жасасу</a:t>
            </a:r>
            <a:r>
              <a:rPr lang="ru-RU" sz="1417" dirty="0"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lang="ru-RU" sz="1417" dirty="0" err="1">
                <a:latin typeface="Verdana" panose="020B0604030504040204" pitchFamily="34" charset="0"/>
                <a:ea typeface="Verdana" panose="020B0604030504040204" pitchFamily="34" charset="0"/>
              </a:rPr>
              <a:t>мүмкіндігі</a:t>
            </a:r>
            <a:endParaRPr lang="ru-RU" sz="1417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3EF7D000-B1F9-4325-9C2C-CB0EEBF627B0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62488" y="1589646"/>
            <a:ext cx="562488" cy="562488"/>
          </a:xfrm>
          <a:prstGeom prst="rect">
            <a:avLst/>
          </a:prstGeom>
        </p:spPr>
      </p:pic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27BC0556-0FBD-4F7F-817E-CA55D80D40F3}"/>
              </a:ext>
            </a:extLst>
          </p:cNvPr>
          <p:cNvSpPr/>
          <p:nvPr/>
        </p:nvSpPr>
        <p:spPr>
          <a:xfrm>
            <a:off x="345929" y="3021307"/>
            <a:ext cx="5134107" cy="40339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1063"/>
              </a:spcAft>
            </a:pPr>
            <a:r>
              <a:rPr lang="ru-RU" sz="1417" b="1" dirty="0" err="1">
                <a:latin typeface="Verdana" panose="020B0604030504040204" pitchFamily="34" charset="0"/>
                <a:ea typeface="Verdana" panose="020B0604030504040204" pitchFamily="34" charset="0"/>
              </a:rPr>
              <a:t>Сенімгерлік</a:t>
            </a:r>
            <a:r>
              <a:rPr lang="ru-RU" sz="1417" b="1" dirty="0"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lang="ru-RU" sz="1417" b="1" dirty="0" err="1">
                <a:latin typeface="Verdana" panose="020B0604030504040204" pitchFamily="34" charset="0"/>
                <a:ea typeface="Verdana" panose="020B0604030504040204" pitchFamily="34" charset="0"/>
              </a:rPr>
              <a:t>басқару</a:t>
            </a:r>
            <a:r>
              <a:rPr lang="ru-RU" sz="1417" b="1" dirty="0"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lang="ru-RU" sz="1417" b="1" dirty="0" err="1">
                <a:latin typeface="Verdana" panose="020B0604030504040204" pitchFamily="34" charset="0"/>
                <a:ea typeface="Verdana" panose="020B0604030504040204" pitchFamily="34" charset="0"/>
              </a:rPr>
              <a:t>мәртебесімынадай</a:t>
            </a:r>
            <a:r>
              <a:rPr lang="ru-RU" sz="1417" b="1" dirty="0"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lang="ru-RU" sz="1417" b="1" dirty="0" err="1">
                <a:latin typeface="Verdana" panose="020B0604030504040204" pitchFamily="34" charset="0"/>
                <a:ea typeface="Verdana" panose="020B0604030504040204" pitchFamily="34" charset="0"/>
              </a:rPr>
              <a:t>артықшылықтар</a:t>
            </a:r>
            <a:r>
              <a:rPr lang="ru-RU" sz="1417" b="1" dirty="0"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lang="ru-RU" sz="1417" b="1" dirty="0" err="1">
                <a:latin typeface="Verdana" panose="020B0604030504040204" pitchFamily="34" charset="0"/>
                <a:ea typeface="Verdana" panose="020B0604030504040204" pitchFamily="34" charset="0"/>
              </a:rPr>
              <a:t>береді</a:t>
            </a:r>
            <a:r>
              <a:rPr lang="ru-RU" sz="1417" b="1" dirty="0">
                <a:latin typeface="Verdana" panose="020B0604030504040204" pitchFamily="34" charset="0"/>
                <a:ea typeface="Verdana" panose="020B0604030504040204" pitchFamily="34" charset="0"/>
              </a:rPr>
              <a:t>:</a:t>
            </a:r>
          </a:p>
          <a:p>
            <a:pPr marL="393738">
              <a:spcAft>
                <a:spcPts val="1063"/>
              </a:spcAft>
            </a:pPr>
            <a:r>
              <a:rPr lang="ru-RU" sz="1329" dirty="0" err="1">
                <a:latin typeface="Verdana" panose="020B0604030504040204" pitchFamily="34" charset="0"/>
                <a:ea typeface="Verdana" panose="020B0604030504040204" pitchFamily="34" charset="0"/>
              </a:rPr>
              <a:t>Бірыңғай</a:t>
            </a:r>
            <a:r>
              <a:rPr lang="ru-RU" sz="1329" dirty="0"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lang="ru-RU" sz="1329" dirty="0" err="1">
                <a:latin typeface="Verdana" panose="020B0604030504040204" pitchFamily="34" charset="0"/>
                <a:ea typeface="Verdana" panose="020B0604030504040204" pitchFamily="34" charset="0"/>
              </a:rPr>
              <a:t>дамыту</a:t>
            </a:r>
            <a:r>
              <a:rPr lang="ru-RU" sz="1329" dirty="0">
                <a:latin typeface="Verdana" panose="020B0604030504040204" pitchFamily="34" charset="0"/>
                <a:ea typeface="Verdana" panose="020B0604030504040204" pitchFamily="34" charset="0"/>
              </a:rPr>
              <a:t>, </a:t>
            </a:r>
            <a:r>
              <a:rPr lang="ru-RU" sz="1329" dirty="0" err="1">
                <a:latin typeface="Verdana" panose="020B0604030504040204" pitchFamily="34" charset="0"/>
                <a:ea typeface="Verdana" panose="020B0604030504040204" pitchFamily="34" charset="0"/>
              </a:rPr>
              <a:t>сүйемелдеу</a:t>
            </a:r>
            <a:r>
              <a:rPr lang="ru-RU" sz="1329" dirty="0">
                <a:latin typeface="Verdana" panose="020B0604030504040204" pitchFamily="34" charset="0"/>
                <a:ea typeface="Verdana" panose="020B0604030504040204" pitchFamily="34" charset="0"/>
              </a:rPr>
              <a:t>, </a:t>
            </a:r>
            <a:r>
              <a:rPr lang="ru-RU" sz="1329" dirty="0" err="1">
                <a:latin typeface="Verdana" panose="020B0604030504040204" pitchFamily="34" charset="0"/>
                <a:ea typeface="Verdana" panose="020B0604030504040204" pitchFamily="34" charset="0"/>
              </a:rPr>
              <a:t>Денсаулық</a:t>
            </a:r>
            <a:r>
              <a:rPr lang="ru-RU" sz="1329" dirty="0"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lang="ru-RU" sz="1329" dirty="0" err="1">
                <a:latin typeface="Verdana" panose="020B0604030504040204" pitchFamily="34" charset="0"/>
                <a:ea typeface="Verdana" panose="020B0604030504040204" pitchFamily="34" charset="0"/>
              </a:rPr>
              <a:t>сақтау</a:t>
            </a:r>
            <a:r>
              <a:rPr lang="ru-RU" sz="1329" dirty="0">
                <a:latin typeface="Verdana" panose="020B0604030504040204" pitchFamily="34" charset="0"/>
                <a:ea typeface="Verdana" panose="020B0604030504040204" pitchFamily="34" charset="0"/>
              </a:rPr>
              <a:t> АЖ </a:t>
            </a:r>
            <a:r>
              <a:rPr lang="ru-RU" sz="1329" dirty="0" err="1">
                <a:latin typeface="Verdana" panose="020B0604030504040204" pitchFamily="34" charset="0"/>
                <a:ea typeface="Verdana" panose="020B0604030504040204" pitchFamily="34" charset="0"/>
              </a:rPr>
              <a:t>түрлендіру</a:t>
            </a:r>
            <a:endParaRPr lang="ru-RU" sz="1329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393738">
              <a:spcAft>
                <a:spcPts val="1063"/>
              </a:spcAft>
            </a:pPr>
            <a:r>
              <a:rPr lang="ru-RU" sz="1329" dirty="0" err="1">
                <a:latin typeface="Verdana" panose="020B0604030504040204" pitchFamily="34" charset="0"/>
                <a:ea typeface="Verdana" panose="020B0604030504040204" pitchFamily="34" charset="0"/>
              </a:rPr>
              <a:t>Денсаулық</a:t>
            </a:r>
            <a:r>
              <a:rPr lang="ru-RU" sz="1329" dirty="0"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lang="ru-RU" sz="1329" dirty="0" err="1">
                <a:latin typeface="Verdana" panose="020B0604030504040204" pitchFamily="34" charset="0"/>
                <a:ea typeface="Verdana" panose="020B0604030504040204" pitchFamily="34" charset="0"/>
              </a:rPr>
              <a:t>сақтау</a:t>
            </a:r>
            <a:r>
              <a:rPr lang="ru-RU" sz="1329" dirty="0">
                <a:latin typeface="Verdana" panose="020B0604030504040204" pitchFamily="34" charset="0"/>
                <a:ea typeface="Verdana" panose="020B0604030504040204" pitchFamily="34" charset="0"/>
              </a:rPr>
              <a:t> АЖ </a:t>
            </a:r>
            <a:r>
              <a:rPr lang="ru-RU" sz="1329" dirty="0" err="1">
                <a:latin typeface="Verdana" panose="020B0604030504040204" pitchFamily="34" charset="0"/>
                <a:ea typeface="Verdana" panose="020B0604030504040204" pitchFamily="34" charset="0"/>
              </a:rPr>
              <a:t>архитектурасын</a:t>
            </a:r>
            <a:r>
              <a:rPr lang="ru-RU" sz="1329" dirty="0"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lang="ru-RU" sz="1329" dirty="0" err="1">
                <a:latin typeface="Verdana" panose="020B0604030504040204" pitchFamily="34" charset="0"/>
                <a:ea typeface="Verdana" panose="020B0604030504040204" pitchFamily="34" charset="0"/>
              </a:rPr>
              <a:t>құруға</a:t>
            </a:r>
            <a:r>
              <a:rPr lang="ru-RU" sz="1329" dirty="0"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lang="ru-RU" sz="1329" dirty="0" err="1">
                <a:latin typeface="Verdana" panose="020B0604030504040204" pitchFamily="34" charset="0"/>
                <a:ea typeface="Verdana" panose="020B0604030504040204" pitchFamily="34" charset="0"/>
              </a:rPr>
              <a:t>бірыңғай</a:t>
            </a:r>
            <a:r>
              <a:rPr lang="ru-RU" sz="1329" dirty="0"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lang="ru-RU" sz="1329" dirty="0" err="1">
                <a:latin typeface="Verdana" panose="020B0604030504040204" pitchFamily="34" charset="0"/>
                <a:ea typeface="Verdana" panose="020B0604030504040204" pitchFamily="34" charset="0"/>
              </a:rPr>
              <a:t>көзқарас</a:t>
            </a:r>
            <a:endParaRPr lang="ru-RU" sz="1329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393738">
              <a:spcAft>
                <a:spcPts val="1063"/>
              </a:spcAft>
            </a:pPr>
            <a:r>
              <a:rPr lang="ru-RU" sz="1329" dirty="0">
                <a:latin typeface="Verdana" panose="020B0604030504040204" pitchFamily="34" charset="0"/>
                <a:ea typeface="Verdana" panose="020B0604030504040204" pitchFamily="34" charset="0"/>
              </a:rPr>
              <a:t>ҚР ДСМ </a:t>
            </a:r>
            <a:r>
              <a:rPr lang="ru-RU" sz="1329" dirty="0" err="1">
                <a:latin typeface="Verdana" panose="020B0604030504040204" pitchFamily="34" charset="0"/>
                <a:ea typeface="Verdana" panose="020B0604030504040204" pitchFamily="34" charset="0"/>
              </a:rPr>
              <a:t>алдына</a:t>
            </a:r>
            <a:r>
              <a:rPr lang="ru-RU" sz="1329" dirty="0"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lang="ru-RU" sz="1329" dirty="0" err="1">
                <a:latin typeface="Verdana" panose="020B0604030504040204" pitchFamily="34" charset="0"/>
                <a:ea typeface="Verdana" panose="020B0604030504040204" pitchFamily="34" charset="0"/>
              </a:rPr>
              <a:t>қойылған</a:t>
            </a:r>
            <a:r>
              <a:rPr lang="ru-RU" sz="1329" dirty="0"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lang="ru-RU" sz="1329" dirty="0" err="1">
                <a:latin typeface="Verdana" panose="020B0604030504040204" pitchFamily="34" charset="0"/>
                <a:ea typeface="Verdana" panose="020B0604030504040204" pitchFamily="34" charset="0"/>
              </a:rPr>
              <a:t>стратегиялық</a:t>
            </a:r>
            <a:r>
              <a:rPr lang="ru-RU" sz="1329" dirty="0"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lang="ru-RU" sz="1329" dirty="0" err="1">
                <a:latin typeface="Verdana" panose="020B0604030504040204" pitchFamily="34" charset="0"/>
                <a:ea typeface="Verdana" panose="020B0604030504040204" pitchFamily="34" charset="0"/>
              </a:rPr>
              <a:t>міндеттерді</a:t>
            </a:r>
            <a:r>
              <a:rPr lang="ru-RU" sz="1329" dirty="0"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lang="ru-RU" sz="1329" dirty="0" err="1">
                <a:latin typeface="Verdana" panose="020B0604030504040204" pitchFamily="34" charset="0"/>
                <a:ea typeface="Verdana" panose="020B0604030504040204" pitchFamily="34" charset="0"/>
              </a:rPr>
              <a:t>іске</a:t>
            </a:r>
            <a:r>
              <a:rPr lang="ru-RU" sz="1329" dirty="0"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lang="ru-RU" sz="1329" dirty="0" err="1">
                <a:latin typeface="Verdana" panose="020B0604030504040204" pitchFamily="34" charset="0"/>
                <a:ea typeface="Verdana" panose="020B0604030504040204" pitchFamily="34" charset="0"/>
              </a:rPr>
              <a:t>асыру</a:t>
            </a:r>
            <a:endParaRPr lang="ru-RU" sz="1329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393738">
              <a:spcAft>
                <a:spcPts val="1063"/>
              </a:spcAft>
            </a:pPr>
            <a:r>
              <a:rPr lang="ru-RU" sz="1329" dirty="0" err="1">
                <a:latin typeface="Verdana" panose="020B0604030504040204" pitchFamily="34" charset="0"/>
                <a:ea typeface="Verdana" panose="020B0604030504040204" pitchFamily="34" charset="0"/>
              </a:rPr>
              <a:t>Денсаулық</a:t>
            </a:r>
            <a:r>
              <a:rPr lang="ru-RU" sz="1329" dirty="0"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lang="ru-RU" sz="1329" dirty="0" err="1">
                <a:latin typeface="Verdana" panose="020B0604030504040204" pitchFamily="34" charset="0"/>
                <a:ea typeface="Verdana" panose="020B0604030504040204" pitchFamily="34" charset="0"/>
              </a:rPr>
              <a:t>сақтау</a:t>
            </a:r>
            <a:r>
              <a:rPr lang="ru-RU" sz="1329" dirty="0">
                <a:latin typeface="Verdana" panose="020B0604030504040204" pitchFamily="34" charset="0"/>
                <a:ea typeface="Verdana" panose="020B0604030504040204" pitchFamily="34" charset="0"/>
              </a:rPr>
              <a:t> АЖ </a:t>
            </a:r>
            <a:r>
              <a:rPr lang="ru-RU" sz="1329" dirty="0" err="1">
                <a:latin typeface="Verdana" panose="020B0604030504040204" pitchFamily="34" charset="0"/>
                <a:ea typeface="Verdana" panose="020B0604030504040204" pitchFamily="34" charset="0"/>
              </a:rPr>
              <a:t>бастапқы</a:t>
            </a:r>
            <a:r>
              <a:rPr lang="ru-RU" sz="1329" dirty="0"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lang="ru-RU" sz="1329" dirty="0" err="1">
                <a:latin typeface="Verdana" panose="020B0604030504040204" pitchFamily="34" charset="0"/>
                <a:ea typeface="Verdana" panose="020B0604030504040204" pitchFamily="34" charset="0"/>
              </a:rPr>
              <a:t>кодтарының</a:t>
            </a:r>
            <a:r>
              <a:rPr lang="ru-RU" sz="1329" dirty="0"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lang="ru-RU" sz="1329" dirty="0" err="1">
                <a:latin typeface="Verdana" panose="020B0604030504040204" pitchFamily="34" charset="0"/>
                <a:ea typeface="Verdana" panose="020B0604030504040204" pitchFamily="34" charset="0"/>
              </a:rPr>
              <a:t>репозиторийі</a:t>
            </a:r>
            <a:r>
              <a:rPr lang="ru-RU" sz="1329" dirty="0"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lang="ru-RU" sz="1329" dirty="0" err="1">
                <a:latin typeface="Verdana" panose="020B0604030504040204" pitchFamily="34" charset="0"/>
                <a:ea typeface="Verdana" panose="020B0604030504040204" pitchFamily="34" charset="0"/>
              </a:rPr>
              <a:t>болуы</a:t>
            </a:r>
            <a:endParaRPr lang="ru-RU" sz="1329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393738">
              <a:spcAft>
                <a:spcPts val="1063"/>
              </a:spcAft>
            </a:pPr>
            <a:r>
              <a:rPr lang="en-US" sz="1329" dirty="0">
                <a:latin typeface="Verdana" panose="020B0604030504040204" pitchFamily="34" charset="0"/>
                <a:ea typeface="Verdana" panose="020B0604030504040204" pitchFamily="34" charset="0"/>
              </a:rPr>
              <a:t>eHealth</a:t>
            </a:r>
            <a:r>
              <a:rPr lang="ru-RU" sz="1329" dirty="0">
                <a:latin typeface="Verdana" panose="020B0604030504040204" pitchFamily="34" charset="0"/>
                <a:ea typeface="Verdana" panose="020B0604030504040204" pitchFamily="34" charset="0"/>
              </a:rPr>
              <a:t> ж</a:t>
            </a:r>
            <a:r>
              <a:rPr lang="kk-KZ" sz="1329" dirty="0">
                <a:latin typeface="Verdana" panose="020B0604030504040204" pitchFamily="34" charset="0"/>
                <a:ea typeface="Verdana" panose="020B0604030504040204" pitchFamily="34" charset="0"/>
              </a:rPr>
              <a:t>әне </a:t>
            </a:r>
            <a:r>
              <a:rPr lang="kk-KZ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ДдТжҚТФБ</a:t>
            </a:r>
            <a:r>
              <a:rPr lang="kk-KZ" sz="1329" dirty="0"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lang="en-US" sz="1329" dirty="0"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lang="ru-RU" sz="1329" dirty="0" err="1">
                <a:latin typeface="Verdana" panose="020B0604030504040204" pitchFamily="34" charset="0"/>
                <a:ea typeface="Verdana" panose="020B0604030504040204" pitchFamily="34" charset="0"/>
              </a:rPr>
              <a:t>Денсаулық</a:t>
            </a:r>
            <a:r>
              <a:rPr lang="ru-RU" sz="1329" dirty="0"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lang="ru-RU" sz="1329" dirty="0" err="1">
                <a:latin typeface="Verdana" panose="020B0604030504040204" pitchFamily="34" charset="0"/>
                <a:ea typeface="Verdana" panose="020B0604030504040204" pitchFamily="34" charset="0"/>
              </a:rPr>
              <a:t>сақтау</a:t>
            </a:r>
            <a:r>
              <a:rPr lang="ru-RU" sz="1329" dirty="0">
                <a:latin typeface="Verdana" panose="020B0604030504040204" pitchFamily="34" charset="0"/>
                <a:ea typeface="Verdana" panose="020B0604030504040204" pitchFamily="34" charset="0"/>
              </a:rPr>
              <a:t> АЖ </a:t>
            </a:r>
            <a:r>
              <a:rPr lang="ru-RU" sz="1329" dirty="0" err="1">
                <a:latin typeface="Verdana" panose="020B0604030504040204" pitchFamily="34" charset="0"/>
                <a:ea typeface="Verdana" panose="020B0604030504040204" pitchFamily="34" charset="0"/>
              </a:rPr>
              <a:t>кезең-кезеңмен</a:t>
            </a:r>
            <a:r>
              <a:rPr lang="ru-RU" sz="1329" dirty="0"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lang="ru-RU" sz="1329" dirty="0" err="1">
                <a:latin typeface="Verdana" panose="020B0604030504040204" pitchFamily="34" charset="0"/>
                <a:ea typeface="Verdana" panose="020B0604030504040204" pitchFamily="34" charset="0"/>
              </a:rPr>
              <a:t>аудару</a:t>
            </a:r>
            <a:r>
              <a:rPr lang="ru-RU" sz="1329" dirty="0">
                <a:latin typeface="Verdana" panose="020B0604030504040204" pitchFamily="34" charset="0"/>
                <a:ea typeface="Verdana" panose="020B0604030504040204" pitchFamily="34" charset="0"/>
              </a:rPr>
              <a:t>, </a:t>
            </a:r>
          </a:p>
          <a:p>
            <a:pPr marL="393738">
              <a:spcAft>
                <a:spcPts val="1063"/>
              </a:spcAft>
            </a:pPr>
            <a:r>
              <a:rPr lang="ru-RU" sz="1329" dirty="0" err="1">
                <a:latin typeface="Verdana" panose="020B0604030504040204" pitchFamily="34" charset="0"/>
                <a:ea typeface="Verdana" panose="020B0604030504040204" pitchFamily="34" charset="0"/>
              </a:rPr>
              <a:t>жаңа</a:t>
            </a:r>
            <a:r>
              <a:rPr lang="ru-RU" sz="1329" dirty="0">
                <a:latin typeface="Verdana" panose="020B0604030504040204" pitchFamily="34" charset="0"/>
                <a:ea typeface="Verdana" panose="020B0604030504040204" pitchFamily="34" charset="0"/>
              </a:rPr>
              <a:t> АЖ </a:t>
            </a:r>
            <a:r>
              <a:rPr lang="ru-RU" sz="1329" dirty="0" err="1">
                <a:latin typeface="Verdana" panose="020B0604030504040204" pitchFamily="34" charset="0"/>
                <a:ea typeface="Verdana" panose="020B0604030504040204" pitchFamily="34" charset="0"/>
              </a:rPr>
              <a:t>әзірлеу</a:t>
            </a:r>
            <a:r>
              <a:rPr lang="ru-RU" sz="1329" dirty="0">
                <a:latin typeface="Verdana" panose="020B0604030504040204" pitchFamily="34" charset="0"/>
                <a:ea typeface="Verdana" panose="020B0604030504040204" pitchFamily="34" charset="0"/>
              </a:rPr>
              <a:t>, ҚР ДСМ АЖ </a:t>
            </a:r>
            <a:r>
              <a:rPr lang="ru-RU" sz="1329" dirty="0" err="1">
                <a:latin typeface="Verdana" panose="020B0604030504040204" pitchFamily="34" charset="0"/>
                <a:ea typeface="Verdana" panose="020B0604030504040204" pitchFamily="34" charset="0"/>
              </a:rPr>
              <a:t>пысықтау</a:t>
            </a:r>
            <a:r>
              <a:rPr lang="ru-RU" sz="1329" dirty="0">
                <a:latin typeface="Verdana" panose="020B0604030504040204" pitchFamily="34" charset="0"/>
                <a:ea typeface="Verdana" panose="020B0604030504040204" pitchFamily="34" charset="0"/>
              </a:rPr>
              <a:t>, </a:t>
            </a:r>
            <a:r>
              <a:rPr lang="ru-RU" sz="1329" dirty="0" err="1">
                <a:latin typeface="Verdana" panose="020B0604030504040204" pitchFamily="34" charset="0"/>
                <a:ea typeface="Verdana" panose="020B0604030504040204" pitchFamily="34" charset="0"/>
              </a:rPr>
              <a:t>біріздендіру</a:t>
            </a:r>
            <a:r>
              <a:rPr lang="ru-RU" sz="1329" dirty="0"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lang="ru-RU" sz="1329" dirty="0" err="1">
                <a:latin typeface="Verdana" panose="020B0604030504040204" pitchFamily="34" charset="0"/>
                <a:ea typeface="Verdana" panose="020B0604030504040204" pitchFamily="34" charset="0"/>
              </a:rPr>
              <a:t>және</a:t>
            </a:r>
            <a:r>
              <a:rPr lang="ru-RU" sz="1329" dirty="0"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lang="ru-RU" sz="1329" dirty="0" err="1">
                <a:latin typeface="Verdana" panose="020B0604030504040204" pitchFamily="34" charset="0"/>
                <a:ea typeface="Verdana" panose="020B0604030504040204" pitchFamily="34" charset="0"/>
              </a:rPr>
              <a:t>интеграциялау</a:t>
            </a:r>
            <a:r>
              <a:rPr lang="ru-RU" sz="1329" dirty="0"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lang="ru-RU" sz="1329" dirty="0" err="1">
                <a:latin typeface="Verdana" panose="020B0604030504040204" pitchFamily="34" charset="0"/>
                <a:ea typeface="Verdana" panose="020B0604030504040204" pitchFamily="34" charset="0"/>
              </a:rPr>
              <a:t>үшін</a:t>
            </a:r>
            <a:r>
              <a:rPr lang="ru-RU" sz="1329" dirty="0"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lang="ru-RU" sz="1329" dirty="0" err="1">
                <a:latin typeface="Verdana" panose="020B0604030504040204" pitchFamily="34" charset="0"/>
                <a:ea typeface="Verdana" panose="020B0604030504040204" pitchFamily="34" charset="0"/>
              </a:rPr>
              <a:t>қажетті</a:t>
            </a:r>
            <a:r>
              <a:rPr lang="ru-RU" sz="1329" dirty="0"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lang="ru-RU" sz="1329" dirty="0" err="1">
                <a:latin typeface="Verdana" panose="020B0604030504040204" pitchFamily="34" charset="0"/>
                <a:ea typeface="Verdana" panose="020B0604030504040204" pitchFamily="34" charset="0"/>
              </a:rPr>
              <a:t>қаражатты</a:t>
            </a:r>
            <a:r>
              <a:rPr lang="ru-RU" sz="1329" dirty="0"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lang="ru-RU" sz="1329" dirty="0" err="1">
                <a:latin typeface="Verdana" panose="020B0604030504040204" pitchFamily="34" charset="0"/>
                <a:ea typeface="Verdana" panose="020B0604030504040204" pitchFamily="34" charset="0"/>
              </a:rPr>
              <a:t>үнемдеу</a:t>
            </a:r>
            <a:endParaRPr lang="ru-RU" sz="1329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grpSp>
        <p:nvGrpSpPr>
          <p:cNvPr id="77" name="Группа 76">
            <a:extLst>
              <a:ext uri="{FF2B5EF4-FFF2-40B4-BE49-F238E27FC236}">
                <a16:creationId xmlns:a16="http://schemas.microsoft.com/office/drawing/2014/main" id="{E8A63A46-31FD-42C6-88AB-820DDA86601C}"/>
              </a:ext>
            </a:extLst>
          </p:cNvPr>
          <p:cNvGrpSpPr/>
          <p:nvPr/>
        </p:nvGrpSpPr>
        <p:grpSpPr>
          <a:xfrm>
            <a:off x="447178" y="3702210"/>
            <a:ext cx="248438" cy="260020"/>
            <a:chOff x="11528772" y="2838559"/>
            <a:chExt cx="280465" cy="293540"/>
          </a:xfrm>
        </p:grpSpPr>
        <p:sp>
          <p:nvSpPr>
            <p:cNvPr id="78" name="Овал 77">
              <a:extLst>
                <a:ext uri="{FF2B5EF4-FFF2-40B4-BE49-F238E27FC236}">
                  <a16:creationId xmlns:a16="http://schemas.microsoft.com/office/drawing/2014/main" id="{E9E4F460-BF2E-4942-86E3-04C2441BA2FB}"/>
                </a:ext>
              </a:extLst>
            </p:cNvPr>
            <p:cNvSpPr/>
            <p:nvPr/>
          </p:nvSpPr>
          <p:spPr>
            <a:xfrm>
              <a:off x="11548509" y="2864834"/>
              <a:ext cx="240990" cy="24099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ru-RU" sz="1594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79" name="Shape 5250">
              <a:extLst>
                <a:ext uri="{FF2B5EF4-FFF2-40B4-BE49-F238E27FC236}">
                  <a16:creationId xmlns:a16="http://schemas.microsoft.com/office/drawing/2014/main" id="{2361F661-E978-4A71-AA24-FFFD54C0AF03}"/>
                </a:ext>
              </a:extLst>
            </p:cNvPr>
            <p:cNvSpPr/>
            <p:nvPr/>
          </p:nvSpPr>
          <p:spPr>
            <a:xfrm>
              <a:off x="11528772" y="2838559"/>
              <a:ext cx="280465" cy="29354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604" y="21600"/>
                  </a:moveTo>
                  <a:cubicBezTo>
                    <a:pt x="4713" y="21600"/>
                    <a:pt x="0" y="16495"/>
                    <a:pt x="0" y="10604"/>
                  </a:cubicBezTo>
                  <a:cubicBezTo>
                    <a:pt x="0" y="4713"/>
                    <a:pt x="4713" y="0"/>
                    <a:pt x="10604" y="0"/>
                  </a:cubicBezTo>
                  <a:cubicBezTo>
                    <a:pt x="16495" y="0"/>
                    <a:pt x="21600" y="4713"/>
                    <a:pt x="21600" y="10604"/>
                  </a:cubicBezTo>
                  <a:cubicBezTo>
                    <a:pt x="21600" y="16495"/>
                    <a:pt x="16495" y="21600"/>
                    <a:pt x="10604" y="21600"/>
                  </a:cubicBezTo>
                  <a:close/>
                  <a:moveTo>
                    <a:pt x="17673" y="7855"/>
                  </a:moveTo>
                  <a:cubicBezTo>
                    <a:pt x="16495" y="6676"/>
                    <a:pt x="16495" y="6676"/>
                    <a:pt x="16495" y="6676"/>
                  </a:cubicBezTo>
                  <a:cubicBezTo>
                    <a:pt x="16102" y="6284"/>
                    <a:pt x="16102" y="6284"/>
                    <a:pt x="15709" y="6284"/>
                  </a:cubicBezTo>
                  <a:cubicBezTo>
                    <a:pt x="15316" y="6284"/>
                    <a:pt x="15316" y="6284"/>
                    <a:pt x="14924" y="6676"/>
                  </a:cubicBezTo>
                  <a:cubicBezTo>
                    <a:pt x="9425" y="12175"/>
                    <a:pt x="9425" y="12175"/>
                    <a:pt x="9425" y="12175"/>
                  </a:cubicBezTo>
                  <a:cubicBezTo>
                    <a:pt x="6284" y="9033"/>
                    <a:pt x="6284" y="9033"/>
                    <a:pt x="6284" y="9033"/>
                  </a:cubicBezTo>
                  <a:cubicBezTo>
                    <a:pt x="5891" y="9033"/>
                    <a:pt x="5891" y="8640"/>
                    <a:pt x="5498" y="8640"/>
                  </a:cubicBezTo>
                  <a:cubicBezTo>
                    <a:pt x="5498" y="8640"/>
                    <a:pt x="5105" y="9033"/>
                    <a:pt x="5105" y="9033"/>
                  </a:cubicBezTo>
                  <a:cubicBezTo>
                    <a:pt x="3535" y="10211"/>
                    <a:pt x="3535" y="10211"/>
                    <a:pt x="3535" y="10211"/>
                  </a:cubicBezTo>
                  <a:cubicBezTo>
                    <a:pt x="3535" y="10604"/>
                    <a:pt x="3535" y="10604"/>
                    <a:pt x="3535" y="10996"/>
                  </a:cubicBezTo>
                  <a:cubicBezTo>
                    <a:pt x="3535" y="11389"/>
                    <a:pt x="3535" y="11389"/>
                    <a:pt x="3535" y="11782"/>
                  </a:cubicBezTo>
                  <a:cubicBezTo>
                    <a:pt x="8640" y="16887"/>
                    <a:pt x="8640" y="16887"/>
                    <a:pt x="8640" y="16887"/>
                  </a:cubicBezTo>
                  <a:cubicBezTo>
                    <a:pt x="9033" y="16887"/>
                    <a:pt x="9033" y="16887"/>
                    <a:pt x="9425" y="16887"/>
                  </a:cubicBezTo>
                  <a:cubicBezTo>
                    <a:pt x="9818" y="16887"/>
                    <a:pt x="9818" y="16887"/>
                    <a:pt x="10211" y="16887"/>
                  </a:cubicBezTo>
                  <a:cubicBezTo>
                    <a:pt x="17673" y="9033"/>
                    <a:pt x="17673" y="9033"/>
                    <a:pt x="17673" y="9033"/>
                  </a:cubicBezTo>
                  <a:cubicBezTo>
                    <a:pt x="17673" y="9033"/>
                    <a:pt x="18065" y="8640"/>
                    <a:pt x="18065" y="8640"/>
                  </a:cubicBezTo>
                  <a:cubicBezTo>
                    <a:pt x="18065" y="8247"/>
                    <a:pt x="17673" y="7855"/>
                    <a:pt x="17673" y="7855"/>
                  </a:cubicBezTo>
                  <a:close/>
                </a:path>
              </a:pathLst>
            </a:custGeom>
            <a:solidFill>
              <a:srgbClr val="00B050"/>
            </a:solidFill>
            <a:ln w="12700" cap="flat">
              <a:noFill/>
              <a:miter lim="400000"/>
            </a:ln>
            <a:effectLst/>
          </p:spPr>
          <p:txBody>
            <a:bodyPr wrap="square" lIns="40493" tIns="40493" rIns="40493" bIns="40493" numCol="1" anchor="t">
              <a:noAutofit/>
            </a:bodyPr>
            <a:lstStyle/>
            <a:p>
              <a:pPr defTabSz="404907">
                <a:defRPr sz="24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defRPr>
              </a:pPr>
              <a:endParaRPr sz="2126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grpSp>
        <p:nvGrpSpPr>
          <p:cNvPr id="80" name="Группа 79">
            <a:extLst>
              <a:ext uri="{FF2B5EF4-FFF2-40B4-BE49-F238E27FC236}">
                <a16:creationId xmlns:a16="http://schemas.microsoft.com/office/drawing/2014/main" id="{1A64464A-CB4C-49A3-A032-1DCA77985DB2}"/>
              </a:ext>
            </a:extLst>
          </p:cNvPr>
          <p:cNvGrpSpPr/>
          <p:nvPr/>
        </p:nvGrpSpPr>
        <p:grpSpPr>
          <a:xfrm>
            <a:off x="447178" y="4261029"/>
            <a:ext cx="248438" cy="260020"/>
            <a:chOff x="11528772" y="2838559"/>
            <a:chExt cx="280465" cy="293540"/>
          </a:xfrm>
        </p:grpSpPr>
        <p:sp>
          <p:nvSpPr>
            <p:cNvPr id="81" name="Овал 80">
              <a:extLst>
                <a:ext uri="{FF2B5EF4-FFF2-40B4-BE49-F238E27FC236}">
                  <a16:creationId xmlns:a16="http://schemas.microsoft.com/office/drawing/2014/main" id="{EC7CE85D-1E3F-4F33-8F23-4C5316B4CC58}"/>
                </a:ext>
              </a:extLst>
            </p:cNvPr>
            <p:cNvSpPr/>
            <p:nvPr/>
          </p:nvSpPr>
          <p:spPr>
            <a:xfrm>
              <a:off x="11548509" y="2864834"/>
              <a:ext cx="240990" cy="24099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ru-RU" sz="1594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82" name="Shape 5250">
              <a:extLst>
                <a:ext uri="{FF2B5EF4-FFF2-40B4-BE49-F238E27FC236}">
                  <a16:creationId xmlns:a16="http://schemas.microsoft.com/office/drawing/2014/main" id="{1992FF19-3457-4D08-A4A3-B52B6B872F69}"/>
                </a:ext>
              </a:extLst>
            </p:cNvPr>
            <p:cNvSpPr/>
            <p:nvPr/>
          </p:nvSpPr>
          <p:spPr>
            <a:xfrm>
              <a:off x="11528772" y="2838559"/>
              <a:ext cx="280465" cy="29354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604" y="21600"/>
                  </a:moveTo>
                  <a:cubicBezTo>
                    <a:pt x="4713" y="21600"/>
                    <a:pt x="0" y="16495"/>
                    <a:pt x="0" y="10604"/>
                  </a:cubicBezTo>
                  <a:cubicBezTo>
                    <a:pt x="0" y="4713"/>
                    <a:pt x="4713" y="0"/>
                    <a:pt x="10604" y="0"/>
                  </a:cubicBezTo>
                  <a:cubicBezTo>
                    <a:pt x="16495" y="0"/>
                    <a:pt x="21600" y="4713"/>
                    <a:pt x="21600" y="10604"/>
                  </a:cubicBezTo>
                  <a:cubicBezTo>
                    <a:pt x="21600" y="16495"/>
                    <a:pt x="16495" y="21600"/>
                    <a:pt x="10604" y="21600"/>
                  </a:cubicBezTo>
                  <a:close/>
                  <a:moveTo>
                    <a:pt x="17673" y="7855"/>
                  </a:moveTo>
                  <a:cubicBezTo>
                    <a:pt x="16495" y="6676"/>
                    <a:pt x="16495" y="6676"/>
                    <a:pt x="16495" y="6676"/>
                  </a:cubicBezTo>
                  <a:cubicBezTo>
                    <a:pt x="16102" y="6284"/>
                    <a:pt x="16102" y="6284"/>
                    <a:pt x="15709" y="6284"/>
                  </a:cubicBezTo>
                  <a:cubicBezTo>
                    <a:pt x="15316" y="6284"/>
                    <a:pt x="15316" y="6284"/>
                    <a:pt x="14924" y="6676"/>
                  </a:cubicBezTo>
                  <a:cubicBezTo>
                    <a:pt x="9425" y="12175"/>
                    <a:pt x="9425" y="12175"/>
                    <a:pt x="9425" y="12175"/>
                  </a:cubicBezTo>
                  <a:cubicBezTo>
                    <a:pt x="6284" y="9033"/>
                    <a:pt x="6284" y="9033"/>
                    <a:pt x="6284" y="9033"/>
                  </a:cubicBezTo>
                  <a:cubicBezTo>
                    <a:pt x="5891" y="9033"/>
                    <a:pt x="5891" y="8640"/>
                    <a:pt x="5498" y="8640"/>
                  </a:cubicBezTo>
                  <a:cubicBezTo>
                    <a:pt x="5498" y="8640"/>
                    <a:pt x="5105" y="9033"/>
                    <a:pt x="5105" y="9033"/>
                  </a:cubicBezTo>
                  <a:cubicBezTo>
                    <a:pt x="3535" y="10211"/>
                    <a:pt x="3535" y="10211"/>
                    <a:pt x="3535" y="10211"/>
                  </a:cubicBezTo>
                  <a:cubicBezTo>
                    <a:pt x="3535" y="10604"/>
                    <a:pt x="3535" y="10604"/>
                    <a:pt x="3535" y="10996"/>
                  </a:cubicBezTo>
                  <a:cubicBezTo>
                    <a:pt x="3535" y="11389"/>
                    <a:pt x="3535" y="11389"/>
                    <a:pt x="3535" y="11782"/>
                  </a:cubicBezTo>
                  <a:cubicBezTo>
                    <a:pt x="8640" y="16887"/>
                    <a:pt x="8640" y="16887"/>
                    <a:pt x="8640" y="16887"/>
                  </a:cubicBezTo>
                  <a:cubicBezTo>
                    <a:pt x="9033" y="16887"/>
                    <a:pt x="9033" y="16887"/>
                    <a:pt x="9425" y="16887"/>
                  </a:cubicBezTo>
                  <a:cubicBezTo>
                    <a:pt x="9818" y="16887"/>
                    <a:pt x="9818" y="16887"/>
                    <a:pt x="10211" y="16887"/>
                  </a:cubicBezTo>
                  <a:cubicBezTo>
                    <a:pt x="17673" y="9033"/>
                    <a:pt x="17673" y="9033"/>
                    <a:pt x="17673" y="9033"/>
                  </a:cubicBezTo>
                  <a:cubicBezTo>
                    <a:pt x="17673" y="9033"/>
                    <a:pt x="18065" y="8640"/>
                    <a:pt x="18065" y="8640"/>
                  </a:cubicBezTo>
                  <a:cubicBezTo>
                    <a:pt x="18065" y="8247"/>
                    <a:pt x="17673" y="7855"/>
                    <a:pt x="17673" y="7855"/>
                  </a:cubicBezTo>
                  <a:close/>
                </a:path>
              </a:pathLst>
            </a:custGeom>
            <a:solidFill>
              <a:srgbClr val="00B050"/>
            </a:solidFill>
            <a:ln w="12700" cap="flat">
              <a:noFill/>
              <a:miter lim="400000"/>
            </a:ln>
            <a:effectLst/>
          </p:spPr>
          <p:txBody>
            <a:bodyPr wrap="square" lIns="40493" tIns="40493" rIns="40493" bIns="40493" numCol="1" anchor="t">
              <a:noAutofit/>
            </a:bodyPr>
            <a:lstStyle/>
            <a:p>
              <a:pPr defTabSz="404907">
                <a:defRPr sz="24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defRPr>
              </a:pPr>
              <a:endParaRPr sz="2126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grpSp>
        <p:nvGrpSpPr>
          <p:cNvPr id="83" name="Группа 82">
            <a:extLst>
              <a:ext uri="{FF2B5EF4-FFF2-40B4-BE49-F238E27FC236}">
                <a16:creationId xmlns:a16="http://schemas.microsoft.com/office/drawing/2014/main" id="{AC0387E5-CB43-4B3F-A2CF-9DA5D0CB02EE}"/>
              </a:ext>
            </a:extLst>
          </p:cNvPr>
          <p:cNvGrpSpPr/>
          <p:nvPr/>
        </p:nvGrpSpPr>
        <p:grpSpPr>
          <a:xfrm>
            <a:off x="447178" y="4793436"/>
            <a:ext cx="248438" cy="260020"/>
            <a:chOff x="11528772" y="2838559"/>
            <a:chExt cx="280465" cy="293540"/>
          </a:xfrm>
        </p:grpSpPr>
        <p:sp>
          <p:nvSpPr>
            <p:cNvPr id="84" name="Овал 83">
              <a:extLst>
                <a:ext uri="{FF2B5EF4-FFF2-40B4-BE49-F238E27FC236}">
                  <a16:creationId xmlns:a16="http://schemas.microsoft.com/office/drawing/2014/main" id="{74C24E0E-3D38-4D1C-99C1-E9FF967DD382}"/>
                </a:ext>
              </a:extLst>
            </p:cNvPr>
            <p:cNvSpPr/>
            <p:nvPr/>
          </p:nvSpPr>
          <p:spPr>
            <a:xfrm>
              <a:off x="11548509" y="2864834"/>
              <a:ext cx="240990" cy="24099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ru-RU" sz="1594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85" name="Shape 5250">
              <a:extLst>
                <a:ext uri="{FF2B5EF4-FFF2-40B4-BE49-F238E27FC236}">
                  <a16:creationId xmlns:a16="http://schemas.microsoft.com/office/drawing/2014/main" id="{2A362EA3-BD87-4DAC-AE57-378E4056D9DE}"/>
                </a:ext>
              </a:extLst>
            </p:cNvPr>
            <p:cNvSpPr/>
            <p:nvPr/>
          </p:nvSpPr>
          <p:spPr>
            <a:xfrm>
              <a:off x="11528772" y="2838559"/>
              <a:ext cx="280465" cy="29354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604" y="21600"/>
                  </a:moveTo>
                  <a:cubicBezTo>
                    <a:pt x="4713" y="21600"/>
                    <a:pt x="0" y="16495"/>
                    <a:pt x="0" y="10604"/>
                  </a:cubicBezTo>
                  <a:cubicBezTo>
                    <a:pt x="0" y="4713"/>
                    <a:pt x="4713" y="0"/>
                    <a:pt x="10604" y="0"/>
                  </a:cubicBezTo>
                  <a:cubicBezTo>
                    <a:pt x="16495" y="0"/>
                    <a:pt x="21600" y="4713"/>
                    <a:pt x="21600" y="10604"/>
                  </a:cubicBezTo>
                  <a:cubicBezTo>
                    <a:pt x="21600" y="16495"/>
                    <a:pt x="16495" y="21600"/>
                    <a:pt x="10604" y="21600"/>
                  </a:cubicBezTo>
                  <a:close/>
                  <a:moveTo>
                    <a:pt x="17673" y="7855"/>
                  </a:moveTo>
                  <a:cubicBezTo>
                    <a:pt x="16495" y="6676"/>
                    <a:pt x="16495" y="6676"/>
                    <a:pt x="16495" y="6676"/>
                  </a:cubicBezTo>
                  <a:cubicBezTo>
                    <a:pt x="16102" y="6284"/>
                    <a:pt x="16102" y="6284"/>
                    <a:pt x="15709" y="6284"/>
                  </a:cubicBezTo>
                  <a:cubicBezTo>
                    <a:pt x="15316" y="6284"/>
                    <a:pt x="15316" y="6284"/>
                    <a:pt x="14924" y="6676"/>
                  </a:cubicBezTo>
                  <a:cubicBezTo>
                    <a:pt x="9425" y="12175"/>
                    <a:pt x="9425" y="12175"/>
                    <a:pt x="9425" y="12175"/>
                  </a:cubicBezTo>
                  <a:cubicBezTo>
                    <a:pt x="6284" y="9033"/>
                    <a:pt x="6284" y="9033"/>
                    <a:pt x="6284" y="9033"/>
                  </a:cubicBezTo>
                  <a:cubicBezTo>
                    <a:pt x="5891" y="9033"/>
                    <a:pt x="5891" y="8640"/>
                    <a:pt x="5498" y="8640"/>
                  </a:cubicBezTo>
                  <a:cubicBezTo>
                    <a:pt x="5498" y="8640"/>
                    <a:pt x="5105" y="9033"/>
                    <a:pt x="5105" y="9033"/>
                  </a:cubicBezTo>
                  <a:cubicBezTo>
                    <a:pt x="3535" y="10211"/>
                    <a:pt x="3535" y="10211"/>
                    <a:pt x="3535" y="10211"/>
                  </a:cubicBezTo>
                  <a:cubicBezTo>
                    <a:pt x="3535" y="10604"/>
                    <a:pt x="3535" y="10604"/>
                    <a:pt x="3535" y="10996"/>
                  </a:cubicBezTo>
                  <a:cubicBezTo>
                    <a:pt x="3535" y="11389"/>
                    <a:pt x="3535" y="11389"/>
                    <a:pt x="3535" y="11782"/>
                  </a:cubicBezTo>
                  <a:cubicBezTo>
                    <a:pt x="8640" y="16887"/>
                    <a:pt x="8640" y="16887"/>
                    <a:pt x="8640" y="16887"/>
                  </a:cubicBezTo>
                  <a:cubicBezTo>
                    <a:pt x="9033" y="16887"/>
                    <a:pt x="9033" y="16887"/>
                    <a:pt x="9425" y="16887"/>
                  </a:cubicBezTo>
                  <a:cubicBezTo>
                    <a:pt x="9818" y="16887"/>
                    <a:pt x="9818" y="16887"/>
                    <a:pt x="10211" y="16887"/>
                  </a:cubicBezTo>
                  <a:cubicBezTo>
                    <a:pt x="17673" y="9033"/>
                    <a:pt x="17673" y="9033"/>
                    <a:pt x="17673" y="9033"/>
                  </a:cubicBezTo>
                  <a:cubicBezTo>
                    <a:pt x="17673" y="9033"/>
                    <a:pt x="18065" y="8640"/>
                    <a:pt x="18065" y="8640"/>
                  </a:cubicBezTo>
                  <a:cubicBezTo>
                    <a:pt x="18065" y="8247"/>
                    <a:pt x="17673" y="7855"/>
                    <a:pt x="17673" y="7855"/>
                  </a:cubicBezTo>
                  <a:close/>
                </a:path>
              </a:pathLst>
            </a:custGeom>
            <a:solidFill>
              <a:srgbClr val="00B050"/>
            </a:solidFill>
            <a:ln w="12700" cap="flat">
              <a:noFill/>
              <a:miter lim="400000"/>
            </a:ln>
            <a:effectLst/>
          </p:spPr>
          <p:txBody>
            <a:bodyPr wrap="square" lIns="40493" tIns="40493" rIns="40493" bIns="40493" numCol="1" anchor="t">
              <a:noAutofit/>
            </a:bodyPr>
            <a:lstStyle/>
            <a:p>
              <a:pPr defTabSz="404907">
                <a:defRPr sz="24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defRPr>
              </a:pPr>
              <a:endParaRPr sz="2126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grpSp>
        <p:nvGrpSpPr>
          <p:cNvPr id="86" name="Группа 85">
            <a:extLst>
              <a:ext uri="{FF2B5EF4-FFF2-40B4-BE49-F238E27FC236}">
                <a16:creationId xmlns:a16="http://schemas.microsoft.com/office/drawing/2014/main" id="{18505890-80AE-43DD-B961-38D7EA7D4ACB}"/>
              </a:ext>
            </a:extLst>
          </p:cNvPr>
          <p:cNvGrpSpPr/>
          <p:nvPr/>
        </p:nvGrpSpPr>
        <p:grpSpPr>
          <a:xfrm>
            <a:off x="447178" y="5329756"/>
            <a:ext cx="248438" cy="260020"/>
            <a:chOff x="11528772" y="2838559"/>
            <a:chExt cx="280465" cy="293540"/>
          </a:xfrm>
        </p:grpSpPr>
        <p:sp>
          <p:nvSpPr>
            <p:cNvPr id="87" name="Овал 86">
              <a:extLst>
                <a:ext uri="{FF2B5EF4-FFF2-40B4-BE49-F238E27FC236}">
                  <a16:creationId xmlns:a16="http://schemas.microsoft.com/office/drawing/2014/main" id="{420F6211-04A6-46E7-85A1-4DD2DE16DEC8}"/>
                </a:ext>
              </a:extLst>
            </p:cNvPr>
            <p:cNvSpPr/>
            <p:nvPr/>
          </p:nvSpPr>
          <p:spPr>
            <a:xfrm>
              <a:off x="11548509" y="2864834"/>
              <a:ext cx="240990" cy="24099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ru-RU" sz="1594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88" name="Shape 5250">
              <a:extLst>
                <a:ext uri="{FF2B5EF4-FFF2-40B4-BE49-F238E27FC236}">
                  <a16:creationId xmlns:a16="http://schemas.microsoft.com/office/drawing/2014/main" id="{3B68AFD4-53E3-461A-A431-6E5DF8C0032B}"/>
                </a:ext>
              </a:extLst>
            </p:cNvPr>
            <p:cNvSpPr/>
            <p:nvPr/>
          </p:nvSpPr>
          <p:spPr>
            <a:xfrm>
              <a:off x="11528772" y="2838559"/>
              <a:ext cx="280465" cy="29354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604" y="21600"/>
                  </a:moveTo>
                  <a:cubicBezTo>
                    <a:pt x="4713" y="21600"/>
                    <a:pt x="0" y="16495"/>
                    <a:pt x="0" y="10604"/>
                  </a:cubicBezTo>
                  <a:cubicBezTo>
                    <a:pt x="0" y="4713"/>
                    <a:pt x="4713" y="0"/>
                    <a:pt x="10604" y="0"/>
                  </a:cubicBezTo>
                  <a:cubicBezTo>
                    <a:pt x="16495" y="0"/>
                    <a:pt x="21600" y="4713"/>
                    <a:pt x="21600" y="10604"/>
                  </a:cubicBezTo>
                  <a:cubicBezTo>
                    <a:pt x="21600" y="16495"/>
                    <a:pt x="16495" y="21600"/>
                    <a:pt x="10604" y="21600"/>
                  </a:cubicBezTo>
                  <a:close/>
                  <a:moveTo>
                    <a:pt x="17673" y="7855"/>
                  </a:moveTo>
                  <a:cubicBezTo>
                    <a:pt x="16495" y="6676"/>
                    <a:pt x="16495" y="6676"/>
                    <a:pt x="16495" y="6676"/>
                  </a:cubicBezTo>
                  <a:cubicBezTo>
                    <a:pt x="16102" y="6284"/>
                    <a:pt x="16102" y="6284"/>
                    <a:pt x="15709" y="6284"/>
                  </a:cubicBezTo>
                  <a:cubicBezTo>
                    <a:pt x="15316" y="6284"/>
                    <a:pt x="15316" y="6284"/>
                    <a:pt x="14924" y="6676"/>
                  </a:cubicBezTo>
                  <a:cubicBezTo>
                    <a:pt x="9425" y="12175"/>
                    <a:pt x="9425" y="12175"/>
                    <a:pt x="9425" y="12175"/>
                  </a:cubicBezTo>
                  <a:cubicBezTo>
                    <a:pt x="6284" y="9033"/>
                    <a:pt x="6284" y="9033"/>
                    <a:pt x="6284" y="9033"/>
                  </a:cubicBezTo>
                  <a:cubicBezTo>
                    <a:pt x="5891" y="9033"/>
                    <a:pt x="5891" y="8640"/>
                    <a:pt x="5498" y="8640"/>
                  </a:cubicBezTo>
                  <a:cubicBezTo>
                    <a:pt x="5498" y="8640"/>
                    <a:pt x="5105" y="9033"/>
                    <a:pt x="5105" y="9033"/>
                  </a:cubicBezTo>
                  <a:cubicBezTo>
                    <a:pt x="3535" y="10211"/>
                    <a:pt x="3535" y="10211"/>
                    <a:pt x="3535" y="10211"/>
                  </a:cubicBezTo>
                  <a:cubicBezTo>
                    <a:pt x="3535" y="10604"/>
                    <a:pt x="3535" y="10604"/>
                    <a:pt x="3535" y="10996"/>
                  </a:cubicBezTo>
                  <a:cubicBezTo>
                    <a:pt x="3535" y="11389"/>
                    <a:pt x="3535" y="11389"/>
                    <a:pt x="3535" y="11782"/>
                  </a:cubicBezTo>
                  <a:cubicBezTo>
                    <a:pt x="8640" y="16887"/>
                    <a:pt x="8640" y="16887"/>
                    <a:pt x="8640" y="16887"/>
                  </a:cubicBezTo>
                  <a:cubicBezTo>
                    <a:pt x="9033" y="16887"/>
                    <a:pt x="9033" y="16887"/>
                    <a:pt x="9425" y="16887"/>
                  </a:cubicBezTo>
                  <a:cubicBezTo>
                    <a:pt x="9818" y="16887"/>
                    <a:pt x="9818" y="16887"/>
                    <a:pt x="10211" y="16887"/>
                  </a:cubicBezTo>
                  <a:cubicBezTo>
                    <a:pt x="17673" y="9033"/>
                    <a:pt x="17673" y="9033"/>
                    <a:pt x="17673" y="9033"/>
                  </a:cubicBezTo>
                  <a:cubicBezTo>
                    <a:pt x="17673" y="9033"/>
                    <a:pt x="18065" y="8640"/>
                    <a:pt x="18065" y="8640"/>
                  </a:cubicBezTo>
                  <a:cubicBezTo>
                    <a:pt x="18065" y="8247"/>
                    <a:pt x="17673" y="7855"/>
                    <a:pt x="17673" y="7855"/>
                  </a:cubicBezTo>
                  <a:close/>
                </a:path>
              </a:pathLst>
            </a:custGeom>
            <a:solidFill>
              <a:srgbClr val="00B050"/>
            </a:solidFill>
            <a:ln w="12700" cap="flat">
              <a:noFill/>
              <a:miter lim="400000"/>
            </a:ln>
            <a:effectLst/>
          </p:spPr>
          <p:txBody>
            <a:bodyPr wrap="square" lIns="40493" tIns="40493" rIns="40493" bIns="40493" numCol="1" anchor="t">
              <a:noAutofit/>
            </a:bodyPr>
            <a:lstStyle/>
            <a:p>
              <a:pPr defTabSz="404907">
                <a:defRPr sz="24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defRPr>
              </a:pPr>
              <a:endParaRPr sz="2126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grpSp>
        <p:nvGrpSpPr>
          <p:cNvPr id="89" name="Группа 88">
            <a:extLst>
              <a:ext uri="{FF2B5EF4-FFF2-40B4-BE49-F238E27FC236}">
                <a16:creationId xmlns:a16="http://schemas.microsoft.com/office/drawing/2014/main" id="{A29B8D0E-BCEA-4C41-9432-BA0CB17F80D5}"/>
              </a:ext>
            </a:extLst>
          </p:cNvPr>
          <p:cNvGrpSpPr/>
          <p:nvPr/>
        </p:nvGrpSpPr>
        <p:grpSpPr>
          <a:xfrm>
            <a:off x="447178" y="5907161"/>
            <a:ext cx="248438" cy="260020"/>
            <a:chOff x="11528772" y="2838559"/>
            <a:chExt cx="280465" cy="293540"/>
          </a:xfrm>
        </p:grpSpPr>
        <p:sp>
          <p:nvSpPr>
            <p:cNvPr id="90" name="Овал 89">
              <a:extLst>
                <a:ext uri="{FF2B5EF4-FFF2-40B4-BE49-F238E27FC236}">
                  <a16:creationId xmlns:a16="http://schemas.microsoft.com/office/drawing/2014/main" id="{5AB96F96-C60D-4C3E-BBAC-3BC5F908A691}"/>
                </a:ext>
              </a:extLst>
            </p:cNvPr>
            <p:cNvSpPr/>
            <p:nvPr/>
          </p:nvSpPr>
          <p:spPr>
            <a:xfrm>
              <a:off x="11548509" y="2864834"/>
              <a:ext cx="240990" cy="24099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ru-RU" sz="1594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91" name="Shape 5250">
              <a:extLst>
                <a:ext uri="{FF2B5EF4-FFF2-40B4-BE49-F238E27FC236}">
                  <a16:creationId xmlns:a16="http://schemas.microsoft.com/office/drawing/2014/main" id="{138077E1-707B-4067-AB06-E92E5D890B8F}"/>
                </a:ext>
              </a:extLst>
            </p:cNvPr>
            <p:cNvSpPr/>
            <p:nvPr/>
          </p:nvSpPr>
          <p:spPr>
            <a:xfrm>
              <a:off x="11528772" y="2838559"/>
              <a:ext cx="280465" cy="29354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604" y="21600"/>
                  </a:moveTo>
                  <a:cubicBezTo>
                    <a:pt x="4713" y="21600"/>
                    <a:pt x="0" y="16495"/>
                    <a:pt x="0" y="10604"/>
                  </a:cubicBezTo>
                  <a:cubicBezTo>
                    <a:pt x="0" y="4713"/>
                    <a:pt x="4713" y="0"/>
                    <a:pt x="10604" y="0"/>
                  </a:cubicBezTo>
                  <a:cubicBezTo>
                    <a:pt x="16495" y="0"/>
                    <a:pt x="21600" y="4713"/>
                    <a:pt x="21600" y="10604"/>
                  </a:cubicBezTo>
                  <a:cubicBezTo>
                    <a:pt x="21600" y="16495"/>
                    <a:pt x="16495" y="21600"/>
                    <a:pt x="10604" y="21600"/>
                  </a:cubicBezTo>
                  <a:close/>
                  <a:moveTo>
                    <a:pt x="17673" y="7855"/>
                  </a:moveTo>
                  <a:cubicBezTo>
                    <a:pt x="16495" y="6676"/>
                    <a:pt x="16495" y="6676"/>
                    <a:pt x="16495" y="6676"/>
                  </a:cubicBezTo>
                  <a:cubicBezTo>
                    <a:pt x="16102" y="6284"/>
                    <a:pt x="16102" y="6284"/>
                    <a:pt x="15709" y="6284"/>
                  </a:cubicBezTo>
                  <a:cubicBezTo>
                    <a:pt x="15316" y="6284"/>
                    <a:pt x="15316" y="6284"/>
                    <a:pt x="14924" y="6676"/>
                  </a:cubicBezTo>
                  <a:cubicBezTo>
                    <a:pt x="9425" y="12175"/>
                    <a:pt x="9425" y="12175"/>
                    <a:pt x="9425" y="12175"/>
                  </a:cubicBezTo>
                  <a:cubicBezTo>
                    <a:pt x="6284" y="9033"/>
                    <a:pt x="6284" y="9033"/>
                    <a:pt x="6284" y="9033"/>
                  </a:cubicBezTo>
                  <a:cubicBezTo>
                    <a:pt x="5891" y="9033"/>
                    <a:pt x="5891" y="8640"/>
                    <a:pt x="5498" y="8640"/>
                  </a:cubicBezTo>
                  <a:cubicBezTo>
                    <a:pt x="5498" y="8640"/>
                    <a:pt x="5105" y="9033"/>
                    <a:pt x="5105" y="9033"/>
                  </a:cubicBezTo>
                  <a:cubicBezTo>
                    <a:pt x="3535" y="10211"/>
                    <a:pt x="3535" y="10211"/>
                    <a:pt x="3535" y="10211"/>
                  </a:cubicBezTo>
                  <a:cubicBezTo>
                    <a:pt x="3535" y="10604"/>
                    <a:pt x="3535" y="10604"/>
                    <a:pt x="3535" y="10996"/>
                  </a:cubicBezTo>
                  <a:cubicBezTo>
                    <a:pt x="3535" y="11389"/>
                    <a:pt x="3535" y="11389"/>
                    <a:pt x="3535" y="11782"/>
                  </a:cubicBezTo>
                  <a:cubicBezTo>
                    <a:pt x="8640" y="16887"/>
                    <a:pt x="8640" y="16887"/>
                    <a:pt x="8640" y="16887"/>
                  </a:cubicBezTo>
                  <a:cubicBezTo>
                    <a:pt x="9033" y="16887"/>
                    <a:pt x="9033" y="16887"/>
                    <a:pt x="9425" y="16887"/>
                  </a:cubicBezTo>
                  <a:cubicBezTo>
                    <a:pt x="9818" y="16887"/>
                    <a:pt x="9818" y="16887"/>
                    <a:pt x="10211" y="16887"/>
                  </a:cubicBezTo>
                  <a:cubicBezTo>
                    <a:pt x="17673" y="9033"/>
                    <a:pt x="17673" y="9033"/>
                    <a:pt x="17673" y="9033"/>
                  </a:cubicBezTo>
                  <a:cubicBezTo>
                    <a:pt x="17673" y="9033"/>
                    <a:pt x="18065" y="8640"/>
                    <a:pt x="18065" y="8640"/>
                  </a:cubicBezTo>
                  <a:cubicBezTo>
                    <a:pt x="18065" y="8247"/>
                    <a:pt x="17673" y="7855"/>
                    <a:pt x="17673" y="7855"/>
                  </a:cubicBezTo>
                  <a:close/>
                </a:path>
              </a:pathLst>
            </a:custGeom>
            <a:solidFill>
              <a:srgbClr val="00B050"/>
            </a:solidFill>
            <a:ln w="12700" cap="flat">
              <a:noFill/>
              <a:miter lim="400000"/>
            </a:ln>
            <a:effectLst/>
          </p:spPr>
          <p:txBody>
            <a:bodyPr wrap="square" lIns="40493" tIns="40493" rIns="40493" bIns="40493" numCol="1" anchor="t">
              <a:noAutofit/>
            </a:bodyPr>
            <a:lstStyle/>
            <a:p>
              <a:pPr defTabSz="404907">
                <a:defRPr sz="24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defRPr>
              </a:pPr>
              <a:endParaRPr sz="2126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grpSp>
        <p:nvGrpSpPr>
          <p:cNvPr id="92" name="Группа 91">
            <a:extLst>
              <a:ext uri="{FF2B5EF4-FFF2-40B4-BE49-F238E27FC236}">
                <a16:creationId xmlns:a16="http://schemas.microsoft.com/office/drawing/2014/main" id="{67F853B8-0179-4C26-8095-161568B58E95}"/>
              </a:ext>
            </a:extLst>
          </p:cNvPr>
          <p:cNvGrpSpPr/>
          <p:nvPr/>
        </p:nvGrpSpPr>
        <p:grpSpPr>
          <a:xfrm>
            <a:off x="447178" y="6454731"/>
            <a:ext cx="248438" cy="260020"/>
            <a:chOff x="11528772" y="2838559"/>
            <a:chExt cx="280465" cy="293540"/>
          </a:xfrm>
        </p:grpSpPr>
        <p:sp>
          <p:nvSpPr>
            <p:cNvPr id="93" name="Овал 92">
              <a:extLst>
                <a:ext uri="{FF2B5EF4-FFF2-40B4-BE49-F238E27FC236}">
                  <a16:creationId xmlns:a16="http://schemas.microsoft.com/office/drawing/2014/main" id="{5CBCEFE0-119B-46D1-A109-C8C6A92675EB}"/>
                </a:ext>
              </a:extLst>
            </p:cNvPr>
            <p:cNvSpPr/>
            <p:nvPr/>
          </p:nvSpPr>
          <p:spPr>
            <a:xfrm>
              <a:off x="11548509" y="2864834"/>
              <a:ext cx="240990" cy="24099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ru-RU" sz="1594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94" name="Shape 5250">
              <a:extLst>
                <a:ext uri="{FF2B5EF4-FFF2-40B4-BE49-F238E27FC236}">
                  <a16:creationId xmlns:a16="http://schemas.microsoft.com/office/drawing/2014/main" id="{9D501098-B41F-4BDA-8B6D-C5E021ED4C09}"/>
                </a:ext>
              </a:extLst>
            </p:cNvPr>
            <p:cNvSpPr/>
            <p:nvPr/>
          </p:nvSpPr>
          <p:spPr>
            <a:xfrm>
              <a:off x="11528772" y="2838559"/>
              <a:ext cx="280465" cy="29354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604" y="21600"/>
                  </a:moveTo>
                  <a:cubicBezTo>
                    <a:pt x="4713" y="21600"/>
                    <a:pt x="0" y="16495"/>
                    <a:pt x="0" y="10604"/>
                  </a:cubicBezTo>
                  <a:cubicBezTo>
                    <a:pt x="0" y="4713"/>
                    <a:pt x="4713" y="0"/>
                    <a:pt x="10604" y="0"/>
                  </a:cubicBezTo>
                  <a:cubicBezTo>
                    <a:pt x="16495" y="0"/>
                    <a:pt x="21600" y="4713"/>
                    <a:pt x="21600" y="10604"/>
                  </a:cubicBezTo>
                  <a:cubicBezTo>
                    <a:pt x="21600" y="16495"/>
                    <a:pt x="16495" y="21600"/>
                    <a:pt x="10604" y="21600"/>
                  </a:cubicBezTo>
                  <a:close/>
                  <a:moveTo>
                    <a:pt x="17673" y="7855"/>
                  </a:moveTo>
                  <a:cubicBezTo>
                    <a:pt x="16495" y="6676"/>
                    <a:pt x="16495" y="6676"/>
                    <a:pt x="16495" y="6676"/>
                  </a:cubicBezTo>
                  <a:cubicBezTo>
                    <a:pt x="16102" y="6284"/>
                    <a:pt x="16102" y="6284"/>
                    <a:pt x="15709" y="6284"/>
                  </a:cubicBezTo>
                  <a:cubicBezTo>
                    <a:pt x="15316" y="6284"/>
                    <a:pt x="15316" y="6284"/>
                    <a:pt x="14924" y="6676"/>
                  </a:cubicBezTo>
                  <a:cubicBezTo>
                    <a:pt x="9425" y="12175"/>
                    <a:pt x="9425" y="12175"/>
                    <a:pt x="9425" y="12175"/>
                  </a:cubicBezTo>
                  <a:cubicBezTo>
                    <a:pt x="6284" y="9033"/>
                    <a:pt x="6284" y="9033"/>
                    <a:pt x="6284" y="9033"/>
                  </a:cubicBezTo>
                  <a:cubicBezTo>
                    <a:pt x="5891" y="9033"/>
                    <a:pt x="5891" y="8640"/>
                    <a:pt x="5498" y="8640"/>
                  </a:cubicBezTo>
                  <a:cubicBezTo>
                    <a:pt x="5498" y="8640"/>
                    <a:pt x="5105" y="9033"/>
                    <a:pt x="5105" y="9033"/>
                  </a:cubicBezTo>
                  <a:cubicBezTo>
                    <a:pt x="3535" y="10211"/>
                    <a:pt x="3535" y="10211"/>
                    <a:pt x="3535" y="10211"/>
                  </a:cubicBezTo>
                  <a:cubicBezTo>
                    <a:pt x="3535" y="10604"/>
                    <a:pt x="3535" y="10604"/>
                    <a:pt x="3535" y="10996"/>
                  </a:cubicBezTo>
                  <a:cubicBezTo>
                    <a:pt x="3535" y="11389"/>
                    <a:pt x="3535" y="11389"/>
                    <a:pt x="3535" y="11782"/>
                  </a:cubicBezTo>
                  <a:cubicBezTo>
                    <a:pt x="8640" y="16887"/>
                    <a:pt x="8640" y="16887"/>
                    <a:pt x="8640" y="16887"/>
                  </a:cubicBezTo>
                  <a:cubicBezTo>
                    <a:pt x="9033" y="16887"/>
                    <a:pt x="9033" y="16887"/>
                    <a:pt x="9425" y="16887"/>
                  </a:cubicBezTo>
                  <a:cubicBezTo>
                    <a:pt x="9818" y="16887"/>
                    <a:pt x="9818" y="16887"/>
                    <a:pt x="10211" y="16887"/>
                  </a:cubicBezTo>
                  <a:cubicBezTo>
                    <a:pt x="17673" y="9033"/>
                    <a:pt x="17673" y="9033"/>
                    <a:pt x="17673" y="9033"/>
                  </a:cubicBezTo>
                  <a:cubicBezTo>
                    <a:pt x="17673" y="9033"/>
                    <a:pt x="18065" y="8640"/>
                    <a:pt x="18065" y="8640"/>
                  </a:cubicBezTo>
                  <a:cubicBezTo>
                    <a:pt x="18065" y="8247"/>
                    <a:pt x="17673" y="7855"/>
                    <a:pt x="17673" y="7855"/>
                  </a:cubicBezTo>
                  <a:close/>
                </a:path>
              </a:pathLst>
            </a:custGeom>
            <a:solidFill>
              <a:srgbClr val="00B050"/>
            </a:solidFill>
            <a:ln w="12700" cap="flat">
              <a:noFill/>
              <a:miter lim="400000"/>
            </a:ln>
            <a:effectLst/>
          </p:spPr>
          <p:txBody>
            <a:bodyPr wrap="square" lIns="40493" tIns="40493" rIns="40493" bIns="40493" numCol="1" anchor="t">
              <a:noAutofit/>
            </a:bodyPr>
            <a:lstStyle/>
            <a:p>
              <a:pPr defTabSz="404907">
                <a:defRPr sz="24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defRPr>
              </a:pPr>
              <a:endParaRPr sz="2126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0B20CB5D-B73A-4B5A-A00B-B030EAA6D0C3}"/>
              </a:ext>
            </a:extLst>
          </p:cNvPr>
          <p:cNvSpPr/>
          <p:nvPr/>
        </p:nvSpPr>
        <p:spPr>
          <a:xfrm>
            <a:off x="5726124" y="3062648"/>
            <a:ext cx="4443652" cy="13195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329" dirty="0">
                <a:latin typeface="Verdana" panose="020B0604030504040204" pitchFamily="34" charset="0"/>
                <a:ea typeface="Verdana" panose="020B0604030504040204" pitchFamily="34" charset="0"/>
              </a:rPr>
              <a:t>РЭДСО </a:t>
            </a:r>
            <a:r>
              <a:rPr lang="ru-RU" sz="1329" dirty="0" err="1">
                <a:latin typeface="Verdana" panose="020B0604030504040204" pitchFamily="34" charset="0"/>
                <a:ea typeface="Verdana" panose="020B0604030504040204" pitchFamily="34" charset="0"/>
              </a:rPr>
              <a:t>алдына</a:t>
            </a:r>
            <a:r>
              <a:rPr lang="ru-RU" sz="1329" dirty="0"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lang="ru-RU" sz="1329" dirty="0" err="1">
                <a:latin typeface="Verdana" panose="020B0604030504040204" pitchFamily="34" charset="0"/>
                <a:ea typeface="Verdana" panose="020B0604030504040204" pitchFamily="34" charset="0"/>
              </a:rPr>
              <a:t>қойылған</a:t>
            </a:r>
            <a:r>
              <a:rPr lang="ru-RU" sz="1329" dirty="0"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lang="ru-RU" sz="1329" dirty="0" err="1">
                <a:latin typeface="Verdana" panose="020B0604030504040204" pitchFamily="34" charset="0"/>
                <a:ea typeface="Verdana" panose="020B0604030504040204" pitchFamily="34" charset="0"/>
              </a:rPr>
              <a:t>жоғарыда</a:t>
            </a:r>
            <a:r>
              <a:rPr lang="ru-RU" sz="1329" dirty="0"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lang="ru-RU" sz="1329" dirty="0" err="1">
                <a:latin typeface="Verdana" panose="020B0604030504040204" pitchFamily="34" charset="0"/>
                <a:ea typeface="Verdana" panose="020B0604030504040204" pitchFamily="34" charset="0"/>
              </a:rPr>
              <a:t>көрсетілгенміндеттердің</a:t>
            </a:r>
            <a:r>
              <a:rPr lang="ru-RU" sz="1329" dirty="0"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lang="ru-RU" sz="1329" dirty="0" err="1">
                <a:latin typeface="Verdana" panose="020B0604030504040204" pitchFamily="34" charset="0"/>
                <a:ea typeface="Verdana" panose="020B0604030504040204" pitchFamily="34" charset="0"/>
              </a:rPr>
              <a:t>барлығын</a:t>
            </a:r>
            <a:r>
              <a:rPr lang="ru-RU" sz="1329" dirty="0"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lang="ru-RU" sz="1329" dirty="0" err="1">
                <a:latin typeface="Verdana" panose="020B0604030504040204" pitchFamily="34" charset="0"/>
                <a:ea typeface="Verdana" panose="020B0604030504040204" pitchFamily="34" charset="0"/>
              </a:rPr>
              <a:t>іске</a:t>
            </a:r>
            <a:r>
              <a:rPr lang="ru-RU" sz="1329" dirty="0"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lang="ru-RU" sz="1329" dirty="0" err="1">
                <a:latin typeface="Verdana" panose="020B0604030504040204" pitchFamily="34" charset="0"/>
                <a:ea typeface="Verdana" panose="020B0604030504040204" pitchFamily="34" charset="0"/>
              </a:rPr>
              <a:t>асыру</a:t>
            </a:r>
            <a:r>
              <a:rPr lang="ru-RU" sz="1329" dirty="0"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lang="ru-RU" sz="1329" dirty="0" err="1">
                <a:latin typeface="Verdana" panose="020B0604030504040204" pitchFamily="34" charset="0"/>
                <a:ea typeface="Verdana" panose="020B0604030504040204" pitchFamily="34" charset="0"/>
              </a:rPr>
              <a:t>үшін</a:t>
            </a:r>
            <a:r>
              <a:rPr lang="ru-RU" sz="1329" dirty="0"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lang="ru-RU" sz="1329" b="1" dirty="0">
                <a:latin typeface="Verdana" panose="020B0604030504040204" pitchFamily="34" charset="0"/>
                <a:ea typeface="Verdana" panose="020B0604030504040204" pitchFamily="34" charset="0"/>
              </a:rPr>
              <a:t>РЭДСО </a:t>
            </a:r>
            <a:r>
              <a:rPr lang="ru-RU" sz="1329" b="1" dirty="0">
                <a:solidFill>
                  <a:srgbClr val="00B0F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Денсаулық сақтау </a:t>
            </a:r>
            <a:r>
              <a:rPr lang="ru-RU" sz="1329" b="1" dirty="0" err="1">
                <a:solidFill>
                  <a:srgbClr val="00B0F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саласындағы</a:t>
            </a:r>
            <a:r>
              <a:rPr lang="ru-RU" sz="1329" b="1" dirty="0">
                <a:solidFill>
                  <a:srgbClr val="00B0F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lang="ru-RU" sz="1329" b="1" dirty="0" err="1">
                <a:solidFill>
                  <a:srgbClr val="00B0F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цифрландыру</a:t>
            </a:r>
            <a:r>
              <a:rPr lang="ru-RU" sz="1329" b="1" dirty="0">
                <a:solidFill>
                  <a:srgbClr val="00B0F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lang="ru-RU" sz="1329" b="1" dirty="0" err="1">
                <a:solidFill>
                  <a:srgbClr val="00B0F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жөніндегі</a:t>
            </a:r>
            <a:r>
              <a:rPr lang="ru-RU" sz="1329" b="1" dirty="0">
                <a:solidFill>
                  <a:srgbClr val="00B0F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lang="ru-RU" sz="1329" b="1" dirty="0" err="1">
                <a:solidFill>
                  <a:srgbClr val="00B0F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сервистік</a:t>
            </a:r>
            <a:r>
              <a:rPr lang="ru-RU" sz="1329" b="1" dirty="0">
                <a:solidFill>
                  <a:srgbClr val="00B0F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интегратор </a:t>
            </a:r>
            <a:r>
              <a:rPr lang="ru-RU" sz="1329" b="1" dirty="0" err="1">
                <a:latin typeface="Verdana" panose="020B0604030504040204" pitchFamily="34" charset="0"/>
                <a:ea typeface="Verdana" panose="020B0604030504040204" pitchFamily="34" charset="0"/>
              </a:rPr>
              <a:t>мәртебесі</a:t>
            </a:r>
            <a:r>
              <a:rPr lang="ru-RU" sz="1329" b="1" dirty="0"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lang="ru-RU" sz="1329" b="1" dirty="0" err="1">
                <a:latin typeface="Verdana" panose="020B0604030504040204" pitchFamily="34" charset="0"/>
                <a:ea typeface="Verdana" panose="020B0604030504040204" pitchFamily="34" charset="0"/>
              </a:rPr>
              <a:t>берілуі</a:t>
            </a:r>
            <a:r>
              <a:rPr lang="ru-RU" sz="1329" b="1" dirty="0"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lang="ru-RU" sz="1329" b="1" dirty="0" err="1">
                <a:latin typeface="Verdana" panose="020B0604030504040204" pitchFamily="34" charset="0"/>
                <a:ea typeface="Verdana" panose="020B0604030504040204" pitchFamily="34" charset="0"/>
              </a:rPr>
              <a:t>қажет</a:t>
            </a:r>
            <a:endParaRPr lang="ru-RU" sz="1329" b="1" dirty="0">
              <a:solidFill>
                <a:srgbClr val="00B0F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cxnSp>
        <p:nvCxnSpPr>
          <p:cNvPr id="95" name="Прямая соединительная линия 94">
            <a:extLst>
              <a:ext uri="{FF2B5EF4-FFF2-40B4-BE49-F238E27FC236}">
                <a16:creationId xmlns:a16="http://schemas.microsoft.com/office/drawing/2014/main" id="{0EED07A9-6185-4CF0-9641-FD5193D4BD8C}"/>
              </a:ext>
            </a:extLst>
          </p:cNvPr>
          <p:cNvCxnSpPr>
            <a:cxnSpLocks/>
          </p:cNvCxnSpPr>
          <p:nvPr/>
        </p:nvCxnSpPr>
        <p:spPr>
          <a:xfrm>
            <a:off x="424678" y="2648906"/>
            <a:ext cx="9822895" cy="0"/>
          </a:xfrm>
          <a:prstGeom prst="line">
            <a:avLst/>
          </a:prstGeom>
          <a:ln w="25400">
            <a:solidFill>
              <a:schemeClr val="bg1">
                <a:lumMod val="85000"/>
              </a:schemeClr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6" name="Прямоугольник 95">
            <a:extLst>
              <a:ext uri="{FF2B5EF4-FFF2-40B4-BE49-F238E27FC236}">
                <a16:creationId xmlns:a16="http://schemas.microsoft.com/office/drawing/2014/main" id="{A6648923-05B9-4535-B087-C2C21EB2E804}"/>
              </a:ext>
            </a:extLst>
          </p:cNvPr>
          <p:cNvSpPr/>
          <p:nvPr/>
        </p:nvSpPr>
        <p:spPr>
          <a:xfrm>
            <a:off x="5759873" y="4581365"/>
            <a:ext cx="4679897" cy="74885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1063"/>
              </a:spcAft>
            </a:pPr>
            <a:r>
              <a:rPr lang="ru-RU" sz="1329" b="1" dirty="0" err="1">
                <a:latin typeface="Verdana" panose="020B0604030504040204" pitchFamily="34" charset="0"/>
                <a:ea typeface="Verdana" panose="020B0604030504040204" pitchFamily="34" charset="0"/>
              </a:rPr>
              <a:t>Трансформациялау</a:t>
            </a:r>
            <a:r>
              <a:rPr lang="ru-RU" sz="1329" b="1" dirty="0"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lang="ru-RU" sz="1329" b="1" dirty="0" err="1">
                <a:latin typeface="Verdana" panose="020B0604030504040204" pitchFamily="34" charset="0"/>
                <a:ea typeface="Verdana" panose="020B0604030504040204" pitchFamily="34" charset="0"/>
              </a:rPr>
              <a:t>жағдайында</a:t>
            </a:r>
            <a:r>
              <a:rPr lang="ru-RU" sz="1329" b="1" dirty="0">
                <a:latin typeface="Verdana" panose="020B0604030504040204" pitchFamily="34" charset="0"/>
                <a:ea typeface="Verdana" panose="020B0604030504040204" pitchFamily="34" charset="0"/>
              </a:rPr>
              <a:t> РЭДСО </a:t>
            </a:r>
            <a:r>
              <a:rPr lang="ru-RU" sz="1329" b="1" dirty="0" err="1">
                <a:latin typeface="Verdana" panose="020B0604030504040204" pitchFamily="34" charset="0"/>
                <a:ea typeface="Verdana" panose="020B0604030504040204" pitchFamily="34" charset="0"/>
              </a:rPr>
              <a:t>өзінің</a:t>
            </a:r>
            <a:r>
              <a:rPr lang="ru-RU" sz="1329" b="1" dirty="0"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lang="ru-RU" sz="1329" b="1" dirty="0" err="1">
                <a:latin typeface="Verdana" panose="020B0604030504040204" pitchFamily="34" charset="0"/>
                <a:ea typeface="Verdana" panose="020B0604030504040204" pitchFamily="34" charset="0"/>
              </a:rPr>
              <a:t>дамуын</a:t>
            </a:r>
            <a:r>
              <a:rPr lang="ru-RU" sz="1329" b="1" dirty="0"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lang="ru-RU" sz="1329" b="1" dirty="0" err="1">
                <a:latin typeface="Verdana" panose="020B0604030504040204" pitchFamily="34" charset="0"/>
                <a:ea typeface="Verdana" panose="020B0604030504040204" pitchFamily="34" charset="0"/>
              </a:rPr>
              <a:t>мынадай</a:t>
            </a:r>
            <a:r>
              <a:rPr lang="ru-RU" sz="1329" b="1" dirty="0"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lang="ru-RU" sz="1329" b="1" dirty="0" err="1">
                <a:latin typeface="Verdana" panose="020B0604030504040204" pitchFamily="34" charset="0"/>
                <a:ea typeface="Verdana" panose="020B0604030504040204" pitchFamily="34" charset="0"/>
              </a:rPr>
              <a:t>бағыттар</a:t>
            </a:r>
            <a:r>
              <a:rPr lang="ru-RU" sz="1329" b="1" dirty="0"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lang="ru-RU" sz="1329" b="1" dirty="0" err="1">
                <a:latin typeface="Verdana" panose="020B0604030504040204" pitchFamily="34" charset="0"/>
                <a:ea typeface="Verdana" panose="020B0604030504040204" pitchFamily="34" charset="0"/>
              </a:rPr>
              <a:t>бойынша</a:t>
            </a:r>
            <a:r>
              <a:rPr lang="ru-RU" sz="1329" b="1" dirty="0"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lang="ru-RU" sz="1329" b="1" dirty="0" err="1">
                <a:latin typeface="Verdana" panose="020B0604030504040204" pitchFamily="34" charset="0"/>
                <a:ea typeface="Verdana" panose="020B0604030504040204" pitchFamily="34" charset="0"/>
              </a:rPr>
              <a:t>жоспарлайды</a:t>
            </a:r>
            <a:r>
              <a:rPr lang="ru-RU" sz="1329" b="1" dirty="0">
                <a:latin typeface="Verdana" panose="020B0604030504040204" pitchFamily="34" charset="0"/>
                <a:ea typeface="Verdana" panose="020B0604030504040204" pitchFamily="34" charset="0"/>
              </a:rPr>
              <a:t>:</a:t>
            </a:r>
          </a:p>
        </p:txBody>
      </p:sp>
      <p:cxnSp>
        <p:nvCxnSpPr>
          <p:cNvPr id="97" name="Прямая соединительная линия 96">
            <a:extLst>
              <a:ext uri="{FF2B5EF4-FFF2-40B4-BE49-F238E27FC236}">
                <a16:creationId xmlns:a16="http://schemas.microsoft.com/office/drawing/2014/main" id="{9C60D40F-A91B-4AE4-9806-D57D8CD4D110}"/>
              </a:ext>
            </a:extLst>
          </p:cNvPr>
          <p:cNvCxnSpPr>
            <a:cxnSpLocks/>
          </p:cNvCxnSpPr>
          <p:nvPr/>
        </p:nvCxnSpPr>
        <p:spPr>
          <a:xfrm>
            <a:off x="5504872" y="2951382"/>
            <a:ext cx="0" cy="4083660"/>
          </a:xfrm>
          <a:prstGeom prst="line">
            <a:avLst/>
          </a:prstGeom>
          <a:ln w="25400">
            <a:solidFill>
              <a:schemeClr val="bg1">
                <a:lumMod val="85000"/>
              </a:schemeClr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16F133ED-8F85-46FF-BE22-E69B861C3DB1}"/>
              </a:ext>
            </a:extLst>
          </p:cNvPr>
          <p:cNvSpPr/>
          <p:nvPr/>
        </p:nvSpPr>
        <p:spPr>
          <a:xfrm>
            <a:off x="6066451" y="5237667"/>
            <a:ext cx="3720834" cy="53001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</a:pPr>
            <a:r>
              <a:rPr lang="ru-RU" sz="1329" dirty="0" err="1">
                <a:solidFill>
                  <a:schemeClr val="tx1">
                    <a:lumMod val="95000"/>
                    <a:lumOff val="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Ведомстволық</a:t>
            </a:r>
            <a:r>
              <a:rPr lang="ru-RU" sz="1329" dirty="0">
                <a:solidFill>
                  <a:schemeClr val="tx1">
                    <a:lumMod val="95000"/>
                    <a:lumOff val="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 </a:t>
            </a:r>
            <a:r>
              <a:rPr lang="ru-RU" sz="1329" dirty="0" err="1">
                <a:solidFill>
                  <a:schemeClr val="tx1">
                    <a:lumMod val="95000"/>
                    <a:lumOff val="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бағыныстағы</a:t>
            </a:r>
            <a:r>
              <a:rPr lang="ru-RU" sz="1329" dirty="0">
                <a:solidFill>
                  <a:schemeClr val="tx1">
                    <a:lumMod val="95000"/>
                    <a:lumOff val="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 </a:t>
            </a:r>
            <a:r>
              <a:rPr lang="ru-RU" sz="1329" dirty="0" err="1">
                <a:solidFill>
                  <a:schemeClr val="tx1">
                    <a:lumMod val="95000"/>
                    <a:lumOff val="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ұйымдардың</a:t>
            </a:r>
            <a:r>
              <a:rPr lang="ru-RU" sz="1329" dirty="0">
                <a:solidFill>
                  <a:schemeClr val="tx1">
                    <a:lumMod val="95000"/>
                    <a:lumOff val="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 </a:t>
            </a:r>
            <a:r>
              <a:rPr lang="ru-RU" sz="1329" dirty="0" err="1">
                <a:solidFill>
                  <a:schemeClr val="tx1">
                    <a:lumMod val="95000"/>
                    <a:lumOff val="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жобаларын</a:t>
            </a:r>
            <a:r>
              <a:rPr lang="ru-RU" sz="1329" dirty="0">
                <a:solidFill>
                  <a:schemeClr val="tx1">
                    <a:lumMod val="95000"/>
                    <a:lumOff val="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 </a:t>
            </a:r>
            <a:r>
              <a:rPr lang="ru-RU" sz="1329" dirty="0" err="1">
                <a:solidFill>
                  <a:schemeClr val="tx1">
                    <a:lumMod val="95000"/>
                    <a:lumOff val="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басқару</a:t>
            </a:r>
            <a:endParaRPr lang="ru-RU" sz="1329" dirty="0">
              <a:solidFill>
                <a:schemeClr val="tx1">
                  <a:lumMod val="95000"/>
                  <a:lumOff val="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id="{A57E182A-769A-4C8E-A3FD-AB5D9CC17175}"/>
              </a:ext>
            </a:extLst>
          </p:cNvPr>
          <p:cNvSpPr/>
          <p:nvPr/>
        </p:nvSpPr>
        <p:spPr>
          <a:xfrm>
            <a:off x="6037308" y="5776182"/>
            <a:ext cx="3537384" cy="53001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709"/>
              </a:spcAft>
            </a:pPr>
            <a:r>
              <a:rPr lang="ru-RU" sz="1329" dirty="0">
                <a:solidFill>
                  <a:schemeClr val="tx1">
                    <a:lumMod val="95000"/>
                    <a:lumOff val="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МЖӘ </a:t>
            </a:r>
            <a:r>
              <a:rPr lang="ru-RU" sz="1329" dirty="0" err="1">
                <a:solidFill>
                  <a:schemeClr val="tx1">
                    <a:lumMod val="95000"/>
                    <a:lumOff val="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жобаларын</a:t>
            </a:r>
            <a:r>
              <a:rPr lang="ru-RU" sz="1329" dirty="0">
                <a:solidFill>
                  <a:schemeClr val="tx1">
                    <a:lumMod val="95000"/>
                    <a:lumOff val="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 </a:t>
            </a:r>
            <a:r>
              <a:rPr lang="ru-RU" sz="1329" dirty="0" err="1">
                <a:solidFill>
                  <a:schemeClr val="tx1">
                    <a:lumMod val="95000"/>
                    <a:lumOff val="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талдау</a:t>
            </a:r>
            <a:r>
              <a:rPr lang="ru-RU" sz="1329" dirty="0">
                <a:solidFill>
                  <a:schemeClr val="tx1">
                    <a:lumMod val="95000"/>
                    <a:lumOff val="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 (</a:t>
            </a:r>
            <a:r>
              <a:rPr lang="en-US" sz="1329" dirty="0">
                <a:solidFill>
                  <a:schemeClr val="tx1">
                    <a:lumMod val="95000"/>
                    <a:lumOff val="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IT </a:t>
            </a:r>
            <a:r>
              <a:rPr lang="ru-RU" sz="1329" dirty="0" err="1">
                <a:solidFill>
                  <a:schemeClr val="tx1">
                    <a:lumMod val="95000"/>
                    <a:lumOff val="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бойынша</a:t>
            </a:r>
            <a:r>
              <a:rPr lang="ru-RU" sz="1329" dirty="0">
                <a:solidFill>
                  <a:schemeClr val="tx1">
                    <a:lumMod val="95000"/>
                    <a:lumOff val="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 </a:t>
            </a:r>
            <a:r>
              <a:rPr lang="ru-RU" sz="1329" dirty="0" err="1">
                <a:solidFill>
                  <a:schemeClr val="tx1">
                    <a:lumMod val="95000"/>
                    <a:lumOff val="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сұрақтар</a:t>
            </a:r>
            <a:r>
              <a:rPr lang="ru-RU" sz="1329" dirty="0">
                <a:solidFill>
                  <a:schemeClr val="tx1">
                    <a:lumMod val="95000"/>
                    <a:lumOff val="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)</a:t>
            </a:r>
          </a:p>
        </p:txBody>
      </p:sp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id="{B4FF66E8-F679-437D-864E-F6036CFAA816}"/>
              </a:ext>
            </a:extLst>
          </p:cNvPr>
          <p:cNvSpPr/>
          <p:nvPr/>
        </p:nvSpPr>
        <p:spPr>
          <a:xfrm>
            <a:off x="6076871" y="6314698"/>
            <a:ext cx="3127779" cy="29181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just">
              <a:lnSpc>
                <a:spcPct val="107000"/>
              </a:lnSpc>
              <a:spcAft>
                <a:spcPts val="709"/>
              </a:spcAft>
            </a:pPr>
            <a:r>
              <a:rPr lang="ru-RU" sz="1329" dirty="0" err="1">
                <a:solidFill>
                  <a:schemeClr val="tx1">
                    <a:lumMod val="95000"/>
                    <a:lumOff val="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Ресурстарды</a:t>
            </a:r>
            <a:r>
              <a:rPr lang="ru-RU" sz="1329" dirty="0">
                <a:solidFill>
                  <a:schemeClr val="tx1">
                    <a:lumMod val="95000"/>
                    <a:lumOff val="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 </a:t>
            </a:r>
            <a:r>
              <a:rPr lang="ru-RU" sz="1329" dirty="0" err="1">
                <a:solidFill>
                  <a:schemeClr val="tx1">
                    <a:lumMod val="95000"/>
                    <a:lumOff val="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оңтайлы</a:t>
            </a:r>
            <a:r>
              <a:rPr lang="ru-RU" sz="1329" dirty="0">
                <a:solidFill>
                  <a:schemeClr val="tx1">
                    <a:lumMod val="95000"/>
                    <a:lumOff val="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 </a:t>
            </a:r>
            <a:r>
              <a:rPr lang="ru-RU" sz="1329" dirty="0" err="1">
                <a:solidFill>
                  <a:schemeClr val="tx1">
                    <a:lumMod val="95000"/>
                    <a:lumOff val="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пайдалану</a:t>
            </a:r>
            <a:endParaRPr lang="ru-RU" sz="1329" dirty="0">
              <a:solidFill>
                <a:schemeClr val="tx1">
                  <a:lumMod val="95000"/>
                  <a:lumOff val="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Times New Roman" panose="02020603050405020304" pitchFamily="18" charset="0"/>
            </a:endParaRPr>
          </a:p>
        </p:txBody>
      </p:sp>
      <p:sp>
        <p:nvSpPr>
          <p:cNvPr id="98" name="Shape 5262">
            <a:extLst>
              <a:ext uri="{FF2B5EF4-FFF2-40B4-BE49-F238E27FC236}">
                <a16:creationId xmlns:a16="http://schemas.microsoft.com/office/drawing/2014/main" id="{B4888EC0-AE93-4456-9947-A75F183195BC}"/>
              </a:ext>
            </a:extLst>
          </p:cNvPr>
          <p:cNvSpPr/>
          <p:nvPr/>
        </p:nvSpPr>
        <p:spPr>
          <a:xfrm>
            <a:off x="5831377" y="5351123"/>
            <a:ext cx="229902" cy="22990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12175"/>
                </a:moveTo>
                <a:cubicBezTo>
                  <a:pt x="21600" y="12567"/>
                  <a:pt x="21207" y="12960"/>
                  <a:pt x="21207" y="12960"/>
                </a:cubicBezTo>
                <a:cubicBezTo>
                  <a:pt x="18458" y="13353"/>
                  <a:pt x="18458" y="13353"/>
                  <a:pt x="18458" y="13353"/>
                </a:cubicBezTo>
                <a:cubicBezTo>
                  <a:pt x="18458" y="13745"/>
                  <a:pt x="18065" y="14138"/>
                  <a:pt x="18065" y="14531"/>
                </a:cubicBezTo>
                <a:cubicBezTo>
                  <a:pt x="18458" y="15316"/>
                  <a:pt x="18851" y="15709"/>
                  <a:pt x="19244" y="16495"/>
                </a:cubicBezTo>
                <a:cubicBezTo>
                  <a:pt x="19636" y="16495"/>
                  <a:pt x="19636" y="16495"/>
                  <a:pt x="19636" y="16887"/>
                </a:cubicBezTo>
                <a:cubicBezTo>
                  <a:pt x="19636" y="16887"/>
                  <a:pt x="19636" y="16887"/>
                  <a:pt x="19244" y="17280"/>
                </a:cubicBezTo>
                <a:cubicBezTo>
                  <a:pt x="19244" y="17673"/>
                  <a:pt x="17280" y="19636"/>
                  <a:pt x="16887" y="19636"/>
                </a:cubicBezTo>
                <a:cubicBezTo>
                  <a:pt x="16495" y="19636"/>
                  <a:pt x="16495" y="19636"/>
                  <a:pt x="16495" y="19636"/>
                </a:cubicBezTo>
                <a:cubicBezTo>
                  <a:pt x="14531" y="18065"/>
                  <a:pt x="14531" y="18065"/>
                  <a:pt x="14531" y="18065"/>
                </a:cubicBezTo>
                <a:cubicBezTo>
                  <a:pt x="14138" y="18065"/>
                  <a:pt x="13745" y="18458"/>
                  <a:pt x="12960" y="18458"/>
                </a:cubicBezTo>
                <a:cubicBezTo>
                  <a:pt x="12960" y="19244"/>
                  <a:pt x="12960" y="20422"/>
                  <a:pt x="12567" y="21207"/>
                </a:cubicBezTo>
                <a:cubicBezTo>
                  <a:pt x="12567" y="21207"/>
                  <a:pt x="12567" y="21600"/>
                  <a:pt x="12175" y="21600"/>
                </a:cubicBezTo>
                <a:cubicBezTo>
                  <a:pt x="9033" y="21600"/>
                  <a:pt x="9033" y="21600"/>
                  <a:pt x="9033" y="21600"/>
                </a:cubicBezTo>
                <a:cubicBezTo>
                  <a:pt x="9033" y="21600"/>
                  <a:pt x="8640" y="21207"/>
                  <a:pt x="8640" y="21207"/>
                </a:cubicBezTo>
                <a:cubicBezTo>
                  <a:pt x="8247" y="18458"/>
                  <a:pt x="8247" y="18458"/>
                  <a:pt x="8247" y="18458"/>
                </a:cubicBezTo>
                <a:cubicBezTo>
                  <a:pt x="7855" y="18458"/>
                  <a:pt x="7462" y="18065"/>
                  <a:pt x="7069" y="18065"/>
                </a:cubicBezTo>
                <a:cubicBezTo>
                  <a:pt x="5105" y="19636"/>
                  <a:pt x="5105" y="19636"/>
                  <a:pt x="5105" y="19636"/>
                </a:cubicBezTo>
                <a:cubicBezTo>
                  <a:pt x="4713" y="19636"/>
                  <a:pt x="4713" y="19636"/>
                  <a:pt x="4713" y="19636"/>
                </a:cubicBezTo>
                <a:cubicBezTo>
                  <a:pt x="4320" y="19636"/>
                  <a:pt x="4320" y="19636"/>
                  <a:pt x="4320" y="19636"/>
                </a:cubicBezTo>
                <a:cubicBezTo>
                  <a:pt x="3535" y="18851"/>
                  <a:pt x="2749" y="18065"/>
                  <a:pt x="1964" y="17280"/>
                </a:cubicBezTo>
                <a:cubicBezTo>
                  <a:pt x="1964" y="16887"/>
                  <a:pt x="1964" y="16887"/>
                  <a:pt x="1964" y="16887"/>
                </a:cubicBezTo>
                <a:cubicBezTo>
                  <a:pt x="1964" y="16495"/>
                  <a:pt x="1964" y="16495"/>
                  <a:pt x="1964" y="16495"/>
                </a:cubicBezTo>
                <a:cubicBezTo>
                  <a:pt x="2356" y="15709"/>
                  <a:pt x="3142" y="15316"/>
                  <a:pt x="3535" y="14531"/>
                </a:cubicBezTo>
                <a:cubicBezTo>
                  <a:pt x="3142" y="14138"/>
                  <a:pt x="3142" y="13745"/>
                  <a:pt x="2749" y="12960"/>
                </a:cubicBezTo>
                <a:cubicBezTo>
                  <a:pt x="393" y="12960"/>
                  <a:pt x="393" y="12960"/>
                  <a:pt x="393" y="12960"/>
                </a:cubicBezTo>
                <a:cubicBezTo>
                  <a:pt x="0" y="12567"/>
                  <a:pt x="0" y="12567"/>
                  <a:pt x="0" y="12175"/>
                </a:cubicBezTo>
                <a:cubicBezTo>
                  <a:pt x="0" y="9033"/>
                  <a:pt x="0" y="9033"/>
                  <a:pt x="0" y="9033"/>
                </a:cubicBezTo>
                <a:cubicBezTo>
                  <a:pt x="0" y="9033"/>
                  <a:pt x="0" y="8640"/>
                  <a:pt x="393" y="8640"/>
                </a:cubicBezTo>
                <a:cubicBezTo>
                  <a:pt x="2749" y="8247"/>
                  <a:pt x="2749" y="8247"/>
                  <a:pt x="2749" y="8247"/>
                </a:cubicBezTo>
                <a:cubicBezTo>
                  <a:pt x="3142" y="7855"/>
                  <a:pt x="3142" y="7462"/>
                  <a:pt x="3535" y="7069"/>
                </a:cubicBezTo>
                <a:cubicBezTo>
                  <a:pt x="3142" y="6284"/>
                  <a:pt x="2356" y="5498"/>
                  <a:pt x="1964" y="5105"/>
                </a:cubicBezTo>
                <a:cubicBezTo>
                  <a:pt x="1964" y="5105"/>
                  <a:pt x="1964" y="4713"/>
                  <a:pt x="1964" y="4713"/>
                </a:cubicBezTo>
                <a:cubicBezTo>
                  <a:pt x="1964" y="4713"/>
                  <a:pt x="1964" y="4320"/>
                  <a:pt x="1964" y="4320"/>
                </a:cubicBezTo>
                <a:cubicBezTo>
                  <a:pt x="2356" y="3927"/>
                  <a:pt x="4320" y="1964"/>
                  <a:pt x="4713" y="1964"/>
                </a:cubicBezTo>
                <a:cubicBezTo>
                  <a:pt x="4713" y="1964"/>
                  <a:pt x="4713" y="1964"/>
                  <a:pt x="5105" y="1964"/>
                </a:cubicBezTo>
                <a:cubicBezTo>
                  <a:pt x="7069" y="3535"/>
                  <a:pt x="7069" y="3535"/>
                  <a:pt x="7069" y="3535"/>
                </a:cubicBezTo>
                <a:cubicBezTo>
                  <a:pt x="7462" y="3142"/>
                  <a:pt x="7855" y="3142"/>
                  <a:pt x="8247" y="3142"/>
                </a:cubicBezTo>
                <a:cubicBezTo>
                  <a:pt x="8247" y="1964"/>
                  <a:pt x="8247" y="1178"/>
                  <a:pt x="8640" y="393"/>
                </a:cubicBezTo>
                <a:cubicBezTo>
                  <a:pt x="8640" y="0"/>
                  <a:pt x="9033" y="0"/>
                  <a:pt x="9033" y="0"/>
                </a:cubicBezTo>
                <a:cubicBezTo>
                  <a:pt x="12175" y="0"/>
                  <a:pt x="12175" y="0"/>
                  <a:pt x="12175" y="0"/>
                </a:cubicBezTo>
                <a:cubicBezTo>
                  <a:pt x="12567" y="0"/>
                  <a:pt x="12567" y="0"/>
                  <a:pt x="12567" y="393"/>
                </a:cubicBezTo>
                <a:cubicBezTo>
                  <a:pt x="12960" y="3142"/>
                  <a:pt x="12960" y="3142"/>
                  <a:pt x="12960" y="3142"/>
                </a:cubicBezTo>
                <a:cubicBezTo>
                  <a:pt x="13745" y="3142"/>
                  <a:pt x="14138" y="3142"/>
                  <a:pt x="14531" y="3535"/>
                </a:cubicBezTo>
                <a:cubicBezTo>
                  <a:pt x="16495" y="1964"/>
                  <a:pt x="16495" y="1964"/>
                  <a:pt x="16495" y="1964"/>
                </a:cubicBezTo>
                <a:cubicBezTo>
                  <a:pt x="16495" y="1964"/>
                  <a:pt x="16495" y="1964"/>
                  <a:pt x="16887" y="1964"/>
                </a:cubicBezTo>
                <a:cubicBezTo>
                  <a:pt x="16887" y="1964"/>
                  <a:pt x="16887" y="1964"/>
                  <a:pt x="16887" y="1964"/>
                </a:cubicBezTo>
                <a:cubicBezTo>
                  <a:pt x="17673" y="2749"/>
                  <a:pt x="18851" y="3535"/>
                  <a:pt x="19244" y="4320"/>
                </a:cubicBezTo>
                <a:cubicBezTo>
                  <a:pt x="19636" y="4320"/>
                  <a:pt x="19636" y="4713"/>
                  <a:pt x="19636" y="4713"/>
                </a:cubicBezTo>
                <a:cubicBezTo>
                  <a:pt x="19636" y="4713"/>
                  <a:pt x="19244" y="5105"/>
                  <a:pt x="19244" y="5105"/>
                </a:cubicBezTo>
                <a:cubicBezTo>
                  <a:pt x="18851" y="5498"/>
                  <a:pt x="18458" y="6284"/>
                  <a:pt x="18065" y="7069"/>
                </a:cubicBezTo>
                <a:cubicBezTo>
                  <a:pt x="18065" y="7462"/>
                  <a:pt x="18458" y="7855"/>
                  <a:pt x="18458" y="8247"/>
                </a:cubicBezTo>
                <a:cubicBezTo>
                  <a:pt x="21207" y="8640"/>
                  <a:pt x="21207" y="8640"/>
                  <a:pt x="21207" y="8640"/>
                </a:cubicBezTo>
                <a:cubicBezTo>
                  <a:pt x="21207" y="8640"/>
                  <a:pt x="21600" y="9033"/>
                  <a:pt x="21600" y="9033"/>
                </a:cubicBezTo>
                <a:lnTo>
                  <a:pt x="21600" y="12175"/>
                </a:lnTo>
                <a:close/>
                <a:moveTo>
                  <a:pt x="10604" y="7069"/>
                </a:moveTo>
                <a:cubicBezTo>
                  <a:pt x="8640" y="7069"/>
                  <a:pt x="7069" y="8640"/>
                  <a:pt x="7069" y="10604"/>
                </a:cubicBezTo>
                <a:cubicBezTo>
                  <a:pt x="7069" y="12567"/>
                  <a:pt x="8640" y="14138"/>
                  <a:pt x="10604" y="14138"/>
                </a:cubicBezTo>
                <a:cubicBezTo>
                  <a:pt x="12567" y="14138"/>
                  <a:pt x="14138" y="12567"/>
                  <a:pt x="14138" y="10604"/>
                </a:cubicBezTo>
                <a:cubicBezTo>
                  <a:pt x="14138" y="8640"/>
                  <a:pt x="12567" y="7069"/>
                  <a:pt x="10604" y="7069"/>
                </a:cubicBezTo>
                <a:close/>
              </a:path>
            </a:pathLst>
          </a:custGeom>
          <a:gradFill>
            <a:gsLst>
              <a:gs pos="0">
                <a:srgbClr val="005FAD"/>
              </a:gs>
              <a:gs pos="100000">
                <a:srgbClr val="00ADF2"/>
              </a:gs>
            </a:gsLst>
            <a:lin ang="16200000" scaled="1"/>
          </a:gradFill>
          <a:ln w="12700" cap="flat">
            <a:noFill/>
            <a:miter lim="400000"/>
          </a:ln>
          <a:effectLst/>
        </p:spPr>
        <p:txBody>
          <a:bodyPr wrap="square" lIns="40493" tIns="40493" rIns="40493" bIns="40493" numCol="1" anchor="t">
            <a:noAutofit/>
          </a:bodyPr>
          <a:lstStyle/>
          <a:p>
            <a:pPr defTabSz="404907">
              <a:defRPr sz="24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pPr>
            <a:endParaRPr sz="2126"/>
          </a:p>
        </p:txBody>
      </p:sp>
      <p:sp>
        <p:nvSpPr>
          <p:cNvPr id="99" name="Shape 5262">
            <a:extLst>
              <a:ext uri="{FF2B5EF4-FFF2-40B4-BE49-F238E27FC236}">
                <a16:creationId xmlns:a16="http://schemas.microsoft.com/office/drawing/2014/main" id="{DF59C748-8D13-459F-9B6C-3532274489C3}"/>
              </a:ext>
            </a:extLst>
          </p:cNvPr>
          <p:cNvSpPr/>
          <p:nvPr/>
        </p:nvSpPr>
        <p:spPr>
          <a:xfrm>
            <a:off x="5831377" y="5937930"/>
            <a:ext cx="229902" cy="22990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12175"/>
                </a:moveTo>
                <a:cubicBezTo>
                  <a:pt x="21600" y="12567"/>
                  <a:pt x="21207" y="12960"/>
                  <a:pt x="21207" y="12960"/>
                </a:cubicBezTo>
                <a:cubicBezTo>
                  <a:pt x="18458" y="13353"/>
                  <a:pt x="18458" y="13353"/>
                  <a:pt x="18458" y="13353"/>
                </a:cubicBezTo>
                <a:cubicBezTo>
                  <a:pt x="18458" y="13745"/>
                  <a:pt x="18065" y="14138"/>
                  <a:pt x="18065" y="14531"/>
                </a:cubicBezTo>
                <a:cubicBezTo>
                  <a:pt x="18458" y="15316"/>
                  <a:pt x="18851" y="15709"/>
                  <a:pt x="19244" y="16495"/>
                </a:cubicBezTo>
                <a:cubicBezTo>
                  <a:pt x="19636" y="16495"/>
                  <a:pt x="19636" y="16495"/>
                  <a:pt x="19636" y="16887"/>
                </a:cubicBezTo>
                <a:cubicBezTo>
                  <a:pt x="19636" y="16887"/>
                  <a:pt x="19636" y="16887"/>
                  <a:pt x="19244" y="17280"/>
                </a:cubicBezTo>
                <a:cubicBezTo>
                  <a:pt x="19244" y="17673"/>
                  <a:pt x="17280" y="19636"/>
                  <a:pt x="16887" y="19636"/>
                </a:cubicBezTo>
                <a:cubicBezTo>
                  <a:pt x="16495" y="19636"/>
                  <a:pt x="16495" y="19636"/>
                  <a:pt x="16495" y="19636"/>
                </a:cubicBezTo>
                <a:cubicBezTo>
                  <a:pt x="14531" y="18065"/>
                  <a:pt x="14531" y="18065"/>
                  <a:pt x="14531" y="18065"/>
                </a:cubicBezTo>
                <a:cubicBezTo>
                  <a:pt x="14138" y="18065"/>
                  <a:pt x="13745" y="18458"/>
                  <a:pt x="12960" y="18458"/>
                </a:cubicBezTo>
                <a:cubicBezTo>
                  <a:pt x="12960" y="19244"/>
                  <a:pt x="12960" y="20422"/>
                  <a:pt x="12567" y="21207"/>
                </a:cubicBezTo>
                <a:cubicBezTo>
                  <a:pt x="12567" y="21207"/>
                  <a:pt x="12567" y="21600"/>
                  <a:pt x="12175" y="21600"/>
                </a:cubicBezTo>
                <a:cubicBezTo>
                  <a:pt x="9033" y="21600"/>
                  <a:pt x="9033" y="21600"/>
                  <a:pt x="9033" y="21600"/>
                </a:cubicBezTo>
                <a:cubicBezTo>
                  <a:pt x="9033" y="21600"/>
                  <a:pt x="8640" y="21207"/>
                  <a:pt x="8640" y="21207"/>
                </a:cubicBezTo>
                <a:cubicBezTo>
                  <a:pt x="8247" y="18458"/>
                  <a:pt x="8247" y="18458"/>
                  <a:pt x="8247" y="18458"/>
                </a:cubicBezTo>
                <a:cubicBezTo>
                  <a:pt x="7855" y="18458"/>
                  <a:pt x="7462" y="18065"/>
                  <a:pt x="7069" y="18065"/>
                </a:cubicBezTo>
                <a:cubicBezTo>
                  <a:pt x="5105" y="19636"/>
                  <a:pt x="5105" y="19636"/>
                  <a:pt x="5105" y="19636"/>
                </a:cubicBezTo>
                <a:cubicBezTo>
                  <a:pt x="4713" y="19636"/>
                  <a:pt x="4713" y="19636"/>
                  <a:pt x="4713" y="19636"/>
                </a:cubicBezTo>
                <a:cubicBezTo>
                  <a:pt x="4320" y="19636"/>
                  <a:pt x="4320" y="19636"/>
                  <a:pt x="4320" y="19636"/>
                </a:cubicBezTo>
                <a:cubicBezTo>
                  <a:pt x="3535" y="18851"/>
                  <a:pt x="2749" y="18065"/>
                  <a:pt x="1964" y="17280"/>
                </a:cubicBezTo>
                <a:cubicBezTo>
                  <a:pt x="1964" y="16887"/>
                  <a:pt x="1964" y="16887"/>
                  <a:pt x="1964" y="16887"/>
                </a:cubicBezTo>
                <a:cubicBezTo>
                  <a:pt x="1964" y="16495"/>
                  <a:pt x="1964" y="16495"/>
                  <a:pt x="1964" y="16495"/>
                </a:cubicBezTo>
                <a:cubicBezTo>
                  <a:pt x="2356" y="15709"/>
                  <a:pt x="3142" y="15316"/>
                  <a:pt x="3535" y="14531"/>
                </a:cubicBezTo>
                <a:cubicBezTo>
                  <a:pt x="3142" y="14138"/>
                  <a:pt x="3142" y="13745"/>
                  <a:pt x="2749" y="12960"/>
                </a:cubicBezTo>
                <a:cubicBezTo>
                  <a:pt x="393" y="12960"/>
                  <a:pt x="393" y="12960"/>
                  <a:pt x="393" y="12960"/>
                </a:cubicBezTo>
                <a:cubicBezTo>
                  <a:pt x="0" y="12567"/>
                  <a:pt x="0" y="12567"/>
                  <a:pt x="0" y="12175"/>
                </a:cubicBezTo>
                <a:cubicBezTo>
                  <a:pt x="0" y="9033"/>
                  <a:pt x="0" y="9033"/>
                  <a:pt x="0" y="9033"/>
                </a:cubicBezTo>
                <a:cubicBezTo>
                  <a:pt x="0" y="9033"/>
                  <a:pt x="0" y="8640"/>
                  <a:pt x="393" y="8640"/>
                </a:cubicBezTo>
                <a:cubicBezTo>
                  <a:pt x="2749" y="8247"/>
                  <a:pt x="2749" y="8247"/>
                  <a:pt x="2749" y="8247"/>
                </a:cubicBezTo>
                <a:cubicBezTo>
                  <a:pt x="3142" y="7855"/>
                  <a:pt x="3142" y="7462"/>
                  <a:pt x="3535" y="7069"/>
                </a:cubicBezTo>
                <a:cubicBezTo>
                  <a:pt x="3142" y="6284"/>
                  <a:pt x="2356" y="5498"/>
                  <a:pt x="1964" y="5105"/>
                </a:cubicBezTo>
                <a:cubicBezTo>
                  <a:pt x="1964" y="5105"/>
                  <a:pt x="1964" y="4713"/>
                  <a:pt x="1964" y="4713"/>
                </a:cubicBezTo>
                <a:cubicBezTo>
                  <a:pt x="1964" y="4713"/>
                  <a:pt x="1964" y="4320"/>
                  <a:pt x="1964" y="4320"/>
                </a:cubicBezTo>
                <a:cubicBezTo>
                  <a:pt x="2356" y="3927"/>
                  <a:pt x="4320" y="1964"/>
                  <a:pt x="4713" y="1964"/>
                </a:cubicBezTo>
                <a:cubicBezTo>
                  <a:pt x="4713" y="1964"/>
                  <a:pt x="4713" y="1964"/>
                  <a:pt x="5105" y="1964"/>
                </a:cubicBezTo>
                <a:cubicBezTo>
                  <a:pt x="7069" y="3535"/>
                  <a:pt x="7069" y="3535"/>
                  <a:pt x="7069" y="3535"/>
                </a:cubicBezTo>
                <a:cubicBezTo>
                  <a:pt x="7462" y="3142"/>
                  <a:pt x="7855" y="3142"/>
                  <a:pt x="8247" y="3142"/>
                </a:cubicBezTo>
                <a:cubicBezTo>
                  <a:pt x="8247" y="1964"/>
                  <a:pt x="8247" y="1178"/>
                  <a:pt x="8640" y="393"/>
                </a:cubicBezTo>
                <a:cubicBezTo>
                  <a:pt x="8640" y="0"/>
                  <a:pt x="9033" y="0"/>
                  <a:pt x="9033" y="0"/>
                </a:cubicBezTo>
                <a:cubicBezTo>
                  <a:pt x="12175" y="0"/>
                  <a:pt x="12175" y="0"/>
                  <a:pt x="12175" y="0"/>
                </a:cubicBezTo>
                <a:cubicBezTo>
                  <a:pt x="12567" y="0"/>
                  <a:pt x="12567" y="0"/>
                  <a:pt x="12567" y="393"/>
                </a:cubicBezTo>
                <a:cubicBezTo>
                  <a:pt x="12960" y="3142"/>
                  <a:pt x="12960" y="3142"/>
                  <a:pt x="12960" y="3142"/>
                </a:cubicBezTo>
                <a:cubicBezTo>
                  <a:pt x="13745" y="3142"/>
                  <a:pt x="14138" y="3142"/>
                  <a:pt x="14531" y="3535"/>
                </a:cubicBezTo>
                <a:cubicBezTo>
                  <a:pt x="16495" y="1964"/>
                  <a:pt x="16495" y="1964"/>
                  <a:pt x="16495" y="1964"/>
                </a:cubicBezTo>
                <a:cubicBezTo>
                  <a:pt x="16495" y="1964"/>
                  <a:pt x="16495" y="1964"/>
                  <a:pt x="16887" y="1964"/>
                </a:cubicBezTo>
                <a:cubicBezTo>
                  <a:pt x="16887" y="1964"/>
                  <a:pt x="16887" y="1964"/>
                  <a:pt x="16887" y="1964"/>
                </a:cubicBezTo>
                <a:cubicBezTo>
                  <a:pt x="17673" y="2749"/>
                  <a:pt x="18851" y="3535"/>
                  <a:pt x="19244" y="4320"/>
                </a:cubicBezTo>
                <a:cubicBezTo>
                  <a:pt x="19636" y="4320"/>
                  <a:pt x="19636" y="4713"/>
                  <a:pt x="19636" y="4713"/>
                </a:cubicBezTo>
                <a:cubicBezTo>
                  <a:pt x="19636" y="4713"/>
                  <a:pt x="19244" y="5105"/>
                  <a:pt x="19244" y="5105"/>
                </a:cubicBezTo>
                <a:cubicBezTo>
                  <a:pt x="18851" y="5498"/>
                  <a:pt x="18458" y="6284"/>
                  <a:pt x="18065" y="7069"/>
                </a:cubicBezTo>
                <a:cubicBezTo>
                  <a:pt x="18065" y="7462"/>
                  <a:pt x="18458" y="7855"/>
                  <a:pt x="18458" y="8247"/>
                </a:cubicBezTo>
                <a:cubicBezTo>
                  <a:pt x="21207" y="8640"/>
                  <a:pt x="21207" y="8640"/>
                  <a:pt x="21207" y="8640"/>
                </a:cubicBezTo>
                <a:cubicBezTo>
                  <a:pt x="21207" y="8640"/>
                  <a:pt x="21600" y="9033"/>
                  <a:pt x="21600" y="9033"/>
                </a:cubicBezTo>
                <a:lnTo>
                  <a:pt x="21600" y="12175"/>
                </a:lnTo>
                <a:close/>
                <a:moveTo>
                  <a:pt x="10604" y="7069"/>
                </a:moveTo>
                <a:cubicBezTo>
                  <a:pt x="8640" y="7069"/>
                  <a:pt x="7069" y="8640"/>
                  <a:pt x="7069" y="10604"/>
                </a:cubicBezTo>
                <a:cubicBezTo>
                  <a:pt x="7069" y="12567"/>
                  <a:pt x="8640" y="14138"/>
                  <a:pt x="10604" y="14138"/>
                </a:cubicBezTo>
                <a:cubicBezTo>
                  <a:pt x="12567" y="14138"/>
                  <a:pt x="14138" y="12567"/>
                  <a:pt x="14138" y="10604"/>
                </a:cubicBezTo>
                <a:cubicBezTo>
                  <a:pt x="14138" y="8640"/>
                  <a:pt x="12567" y="7069"/>
                  <a:pt x="10604" y="7069"/>
                </a:cubicBezTo>
                <a:close/>
              </a:path>
            </a:pathLst>
          </a:custGeom>
          <a:gradFill>
            <a:gsLst>
              <a:gs pos="0">
                <a:srgbClr val="005FAD"/>
              </a:gs>
              <a:gs pos="100000">
                <a:srgbClr val="00ADF2"/>
              </a:gs>
            </a:gsLst>
            <a:lin ang="16200000" scaled="1"/>
          </a:gradFill>
          <a:ln w="12700" cap="flat">
            <a:noFill/>
            <a:miter lim="400000"/>
          </a:ln>
          <a:effectLst/>
        </p:spPr>
        <p:txBody>
          <a:bodyPr wrap="square" lIns="40493" tIns="40493" rIns="40493" bIns="40493" numCol="1" anchor="t">
            <a:noAutofit/>
          </a:bodyPr>
          <a:lstStyle/>
          <a:p>
            <a:pPr defTabSz="404907">
              <a:defRPr sz="24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pPr>
            <a:endParaRPr sz="2126"/>
          </a:p>
        </p:txBody>
      </p:sp>
      <p:sp>
        <p:nvSpPr>
          <p:cNvPr id="100" name="Shape 5262">
            <a:extLst>
              <a:ext uri="{FF2B5EF4-FFF2-40B4-BE49-F238E27FC236}">
                <a16:creationId xmlns:a16="http://schemas.microsoft.com/office/drawing/2014/main" id="{6523F201-96FD-4B26-9F39-644FCDBC2B7F}"/>
              </a:ext>
            </a:extLst>
          </p:cNvPr>
          <p:cNvSpPr/>
          <p:nvPr/>
        </p:nvSpPr>
        <p:spPr>
          <a:xfrm>
            <a:off x="5831377" y="6298902"/>
            <a:ext cx="229902" cy="22990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12175"/>
                </a:moveTo>
                <a:cubicBezTo>
                  <a:pt x="21600" y="12567"/>
                  <a:pt x="21207" y="12960"/>
                  <a:pt x="21207" y="12960"/>
                </a:cubicBezTo>
                <a:cubicBezTo>
                  <a:pt x="18458" y="13353"/>
                  <a:pt x="18458" y="13353"/>
                  <a:pt x="18458" y="13353"/>
                </a:cubicBezTo>
                <a:cubicBezTo>
                  <a:pt x="18458" y="13745"/>
                  <a:pt x="18065" y="14138"/>
                  <a:pt x="18065" y="14531"/>
                </a:cubicBezTo>
                <a:cubicBezTo>
                  <a:pt x="18458" y="15316"/>
                  <a:pt x="18851" y="15709"/>
                  <a:pt x="19244" y="16495"/>
                </a:cubicBezTo>
                <a:cubicBezTo>
                  <a:pt x="19636" y="16495"/>
                  <a:pt x="19636" y="16495"/>
                  <a:pt x="19636" y="16887"/>
                </a:cubicBezTo>
                <a:cubicBezTo>
                  <a:pt x="19636" y="16887"/>
                  <a:pt x="19636" y="16887"/>
                  <a:pt x="19244" y="17280"/>
                </a:cubicBezTo>
                <a:cubicBezTo>
                  <a:pt x="19244" y="17673"/>
                  <a:pt x="17280" y="19636"/>
                  <a:pt x="16887" y="19636"/>
                </a:cubicBezTo>
                <a:cubicBezTo>
                  <a:pt x="16495" y="19636"/>
                  <a:pt x="16495" y="19636"/>
                  <a:pt x="16495" y="19636"/>
                </a:cubicBezTo>
                <a:cubicBezTo>
                  <a:pt x="14531" y="18065"/>
                  <a:pt x="14531" y="18065"/>
                  <a:pt x="14531" y="18065"/>
                </a:cubicBezTo>
                <a:cubicBezTo>
                  <a:pt x="14138" y="18065"/>
                  <a:pt x="13745" y="18458"/>
                  <a:pt x="12960" y="18458"/>
                </a:cubicBezTo>
                <a:cubicBezTo>
                  <a:pt x="12960" y="19244"/>
                  <a:pt x="12960" y="20422"/>
                  <a:pt x="12567" y="21207"/>
                </a:cubicBezTo>
                <a:cubicBezTo>
                  <a:pt x="12567" y="21207"/>
                  <a:pt x="12567" y="21600"/>
                  <a:pt x="12175" y="21600"/>
                </a:cubicBezTo>
                <a:cubicBezTo>
                  <a:pt x="9033" y="21600"/>
                  <a:pt x="9033" y="21600"/>
                  <a:pt x="9033" y="21600"/>
                </a:cubicBezTo>
                <a:cubicBezTo>
                  <a:pt x="9033" y="21600"/>
                  <a:pt x="8640" y="21207"/>
                  <a:pt x="8640" y="21207"/>
                </a:cubicBezTo>
                <a:cubicBezTo>
                  <a:pt x="8247" y="18458"/>
                  <a:pt x="8247" y="18458"/>
                  <a:pt x="8247" y="18458"/>
                </a:cubicBezTo>
                <a:cubicBezTo>
                  <a:pt x="7855" y="18458"/>
                  <a:pt x="7462" y="18065"/>
                  <a:pt x="7069" y="18065"/>
                </a:cubicBezTo>
                <a:cubicBezTo>
                  <a:pt x="5105" y="19636"/>
                  <a:pt x="5105" y="19636"/>
                  <a:pt x="5105" y="19636"/>
                </a:cubicBezTo>
                <a:cubicBezTo>
                  <a:pt x="4713" y="19636"/>
                  <a:pt x="4713" y="19636"/>
                  <a:pt x="4713" y="19636"/>
                </a:cubicBezTo>
                <a:cubicBezTo>
                  <a:pt x="4320" y="19636"/>
                  <a:pt x="4320" y="19636"/>
                  <a:pt x="4320" y="19636"/>
                </a:cubicBezTo>
                <a:cubicBezTo>
                  <a:pt x="3535" y="18851"/>
                  <a:pt x="2749" y="18065"/>
                  <a:pt x="1964" y="17280"/>
                </a:cubicBezTo>
                <a:cubicBezTo>
                  <a:pt x="1964" y="16887"/>
                  <a:pt x="1964" y="16887"/>
                  <a:pt x="1964" y="16887"/>
                </a:cubicBezTo>
                <a:cubicBezTo>
                  <a:pt x="1964" y="16495"/>
                  <a:pt x="1964" y="16495"/>
                  <a:pt x="1964" y="16495"/>
                </a:cubicBezTo>
                <a:cubicBezTo>
                  <a:pt x="2356" y="15709"/>
                  <a:pt x="3142" y="15316"/>
                  <a:pt x="3535" y="14531"/>
                </a:cubicBezTo>
                <a:cubicBezTo>
                  <a:pt x="3142" y="14138"/>
                  <a:pt x="3142" y="13745"/>
                  <a:pt x="2749" y="12960"/>
                </a:cubicBezTo>
                <a:cubicBezTo>
                  <a:pt x="393" y="12960"/>
                  <a:pt x="393" y="12960"/>
                  <a:pt x="393" y="12960"/>
                </a:cubicBezTo>
                <a:cubicBezTo>
                  <a:pt x="0" y="12567"/>
                  <a:pt x="0" y="12567"/>
                  <a:pt x="0" y="12175"/>
                </a:cubicBezTo>
                <a:cubicBezTo>
                  <a:pt x="0" y="9033"/>
                  <a:pt x="0" y="9033"/>
                  <a:pt x="0" y="9033"/>
                </a:cubicBezTo>
                <a:cubicBezTo>
                  <a:pt x="0" y="9033"/>
                  <a:pt x="0" y="8640"/>
                  <a:pt x="393" y="8640"/>
                </a:cubicBezTo>
                <a:cubicBezTo>
                  <a:pt x="2749" y="8247"/>
                  <a:pt x="2749" y="8247"/>
                  <a:pt x="2749" y="8247"/>
                </a:cubicBezTo>
                <a:cubicBezTo>
                  <a:pt x="3142" y="7855"/>
                  <a:pt x="3142" y="7462"/>
                  <a:pt x="3535" y="7069"/>
                </a:cubicBezTo>
                <a:cubicBezTo>
                  <a:pt x="3142" y="6284"/>
                  <a:pt x="2356" y="5498"/>
                  <a:pt x="1964" y="5105"/>
                </a:cubicBezTo>
                <a:cubicBezTo>
                  <a:pt x="1964" y="5105"/>
                  <a:pt x="1964" y="4713"/>
                  <a:pt x="1964" y="4713"/>
                </a:cubicBezTo>
                <a:cubicBezTo>
                  <a:pt x="1964" y="4713"/>
                  <a:pt x="1964" y="4320"/>
                  <a:pt x="1964" y="4320"/>
                </a:cubicBezTo>
                <a:cubicBezTo>
                  <a:pt x="2356" y="3927"/>
                  <a:pt x="4320" y="1964"/>
                  <a:pt x="4713" y="1964"/>
                </a:cubicBezTo>
                <a:cubicBezTo>
                  <a:pt x="4713" y="1964"/>
                  <a:pt x="4713" y="1964"/>
                  <a:pt x="5105" y="1964"/>
                </a:cubicBezTo>
                <a:cubicBezTo>
                  <a:pt x="7069" y="3535"/>
                  <a:pt x="7069" y="3535"/>
                  <a:pt x="7069" y="3535"/>
                </a:cubicBezTo>
                <a:cubicBezTo>
                  <a:pt x="7462" y="3142"/>
                  <a:pt x="7855" y="3142"/>
                  <a:pt x="8247" y="3142"/>
                </a:cubicBezTo>
                <a:cubicBezTo>
                  <a:pt x="8247" y="1964"/>
                  <a:pt x="8247" y="1178"/>
                  <a:pt x="8640" y="393"/>
                </a:cubicBezTo>
                <a:cubicBezTo>
                  <a:pt x="8640" y="0"/>
                  <a:pt x="9033" y="0"/>
                  <a:pt x="9033" y="0"/>
                </a:cubicBezTo>
                <a:cubicBezTo>
                  <a:pt x="12175" y="0"/>
                  <a:pt x="12175" y="0"/>
                  <a:pt x="12175" y="0"/>
                </a:cubicBezTo>
                <a:cubicBezTo>
                  <a:pt x="12567" y="0"/>
                  <a:pt x="12567" y="0"/>
                  <a:pt x="12567" y="393"/>
                </a:cubicBezTo>
                <a:cubicBezTo>
                  <a:pt x="12960" y="3142"/>
                  <a:pt x="12960" y="3142"/>
                  <a:pt x="12960" y="3142"/>
                </a:cubicBezTo>
                <a:cubicBezTo>
                  <a:pt x="13745" y="3142"/>
                  <a:pt x="14138" y="3142"/>
                  <a:pt x="14531" y="3535"/>
                </a:cubicBezTo>
                <a:cubicBezTo>
                  <a:pt x="16495" y="1964"/>
                  <a:pt x="16495" y="1964"/>
                  <a:pt x="16495" y="1964"/>
                </a:cubicBezTo>
                <a:cubicBezTo>
                  <a:pt x="16495" y="1964"/>
                  <a:pt x="16495" y="1964"/>
                  <a:pt x="16887" y="1964"/>
                </a:cubicBezTo>
                <a:cubicBezTo>
                  <a:pt x="16887" y="1964"/>
                  <a:pt x="16887" y="1964"/>
                  <a:pt x="16887" y="1964"/>
                </a:cubicBezTo>
                <a:cubicBezTo>
                  <a:pt x="17673" y="2749"/>
                  <a:pt x="18851" y="3535"/>
                  <a:pt x="19244" y="4320"/>
                </a:cubicBezTo>
                <a:cubicBezTo>
                  <a:pt x="19636" y="4320"/>
                  <a:pt x="19636" y="4713"/>
                  <a:pt x="19636" y="4713"/>
                </a:cubicBezTo>
                <a:cubicBezTo>
                  <a:pt x="19636" y="4713"/>
                  <a:pt x="19244" y="5105"/>
                  <a:pt x="19244" y="5105"/>
                </a:cubicBezTo>
                <a:cubicBezTo>
                  <a:pt x="18851" y="5498"/>
                  <a:pt x="18458" y="6284"/>
                  <a:pt x="18065" y="7069"/>
                </a:cubicBezTo>
                <a:cubicBezTo>
                  <a:pt x="18065" y="7462"/>
                  <a:pt x="18458" y="7855"/>
                  <a:pt x="18458" y="8247"/>
                </a:cubicBezTo>
                <a:cubicBezTo>
                  <a:pt x="21207" y="8640"/>
                  <a:pt x="21207" y="8640"/>
                  <a:pt x="21207" y="8640"/>
                </a:cubicBezTo>
                <a:cubicBezTo>
                  <a:pt x="21207" y="8640"/>
                  <a:pt x="21600" y="9033"/>
                  <a:pt x="21600" y="9033"/>
                </a:cubicBezTo>
                <a:lnTo>
                  <a:pt x="21600" y="12175"/>
                </a:lnTo>
                <a:close/>
                <a:moveTo>
                  <a:pt x="10604" y="7069"/>
                </a:moveTo>
                <a:cubicBezTo>
                  <a:pt x="8640" y="7069"/>
                  <a:pt x="7069" y="8640"/>
                  <a:pt x="7069" y="10604"/>
                </a:cubicBezTo>
                <a:cubicBezTo>
                  <a:pt x="7069" y="12567"/>
                  <a:pt x="8640" y="14138"/>
                  <a:pt x="10604" y="14138"/>
                </a:cubicBezTo>
                <a:cubicBezTo>
                  <a:pt x="12567" y="14138"/>
                  <a:pt x="14138" y="12567"/>
                  <a:pt x="14138" y="10604"/>
                </a:cubicBezTo>
                <a:cubicBezTo>
                  <a:pt x="14138" y="8640"/>
                  <a:pt x="12567" y="7069"/>
                  <a:pt x="10604" y="7069"/>
                </a:cubicBezTo>
                <a:close/>
              </a:path>
            </a:pathLst>
          </a:custGeom>
          <a:gradFill>
            <a:gsLst>
              <a:gs pos="0">
                <a:srgbClr val="005FAD"/>
              </a:gs>
              <a:gs pos="100000">
                <a:srgbClr val="00ADF2"/>
              </a:gs>
            </a:gsLst>
            <a:lin ang="16200000" scaled="1"/>
          </a:gradFill>
          <a:ln w="12700" cap="flat">
            <a:noFill/>
            <a:miter lim="400000"/>
          </a:ln>
          <a:effectLst/>
        </p:spPr>
        <p:txBody>
          <a:bodyPr wrap="square" lIns="40493" tIns="40493" rIns="40493" bIns="40493" numCol="1" anchor="t">
            <a:noAutofit/>
          </a:bodyPr>
          <a:lstStyle/>
          <a:p>
            <a:pPr defTabSz="404907">
              <a:defRPr sz="24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pPr>
            <a:endParaRPr sz="2126"/>
          </a:p>
        </p:txBody>
      </p:sp>
      <p:sp>
        <p:nvSpPr>
          <p:cNvPr id="41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8099821" y="7002022"/>
            <a:ext cx="2429947" cy="402483"/>
          </a:xfrm>
        </p:spPr>
        <p:txBody>
          <a:bodyPr/>
          <a:lstStyle/>
          <a:p>
            <a:r>
              <a:rPr lang="ru-RU" dirty="0"/>
              <a:t>10</a:t>
            </a:r>
          </a:p>
        </p:txBody>
      </p:sp>
    </p:spTree>
    <p:extLst>
      <p:ext uri="{BB962C8B-B14F-4D97-AF65-F5344CB8AC3E}">
        <p14:creationId xmlns:p14="http://schemas.microsoft.com/office/powerpoint/2010/main" val="170323907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Рисунок 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32400" y="971550"/>
            <a:ext cx="5567363" cy="5688698"/>
          </a:xfrm>
          <a:prstGeom prst="rect">
            <a:avLst/>
          </a:prstGeom>
        </p:spPr>
      </p:pic>
      <p:sp>
        <p:nvSpPr>
          <p:cNvPr id="12" name="Freeform 2"/>
          <p:cNvSpPr/>
          <p:nvPr/>
        </p:nvSpPr>
        <p:spPr>
          <a:xfrm rot="10800000">
            <a:off x="0" y="742404"/>
            <a:ext cx="2953004" cy="6074866"/>
          </a:xfrm>
          <a:custGeom>
            <a:avLst/>
            <a:gdLst>
              <a:gd name="connsiteX0" fmla="*/ 4420533 w 4420533"/>
              <a:gd name="connsiteY0" fmla="*/ 0 h 9093841"/>
              <a:gd name="connsiteX1" fmla="*/ 4420533 w 4420533"/>
              <a:gd name="connsiteY1" fmla="*/ 9093841 h 9093841"/>
              <a:gd name="connsiteX2" fmla="*/ 89371 w 4420533"/>
              <a:gd name="connsiteY2" fmla="*/ 4762680 h 9093841"/>
              <a:gd name="connsiteX3" fmla="*/ 89371 w 4420533"/>
              <a:gd name="connsiteY3" fmla="*/ 4331162 h 9093841"/>
              <a:gd name="connsiteX4" fmla="*/ 4420533 w 4420533"/>
              <a:gd name="connsiteY4" fmla="*/ 0 h 90938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420533" h="9093841">
                <a:moveTo>
                  <a:pt x="4420533" y="0"/>
                </a:moveTo>
                <a:lnTo>
                  <a:pt x="4420533" y="9093841"/>
                </a:lnTo>
                <a:lnTo>
                  <a:pt x="89371" y="4762680"/>
                </a:lnTo>
                <a:cubicBezTo>
                  <a:pt x="-29791" y="4643520"/>
                  <a:pt x="-29791" y="4450323"/>
                  <a:pt x="89371" y="4331162"/>
                </a:cubicBezTo>
                <a:lnTo>
                  <a:pt x="4420533" y="0"/>
                </a:lnTo>
                <a:close/>
              </a:path>
            </a:pathLst>
          </a:custGeom>
          <a:solidFill>
            <a:srgbClr val="F4F4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63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8918139-B9B6-4479-AF1A-EC2985DAEF40}"/>
              </a:ext>
            </a:extLst>
          </p:cNvPr>
          <p:cNvSpPr txBox="1"/>
          <p:nvPr/>
        </p:nvSpPr>
        <p:spPr>
          <a:xfrm>
            <a:off x="255741" y="3492433"/>
            <a:ext cx="7073527" cy="16918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5197" b="1" dirty="0">
                <a:solidFill>
                  <a:schemeClr val="tx1">
                    <a:lumMod val="95000"/>
                    <a:lumOff val="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АЗАРЛАРЫҢЫЗҒА РАҚМЕТ!</a:t>
            </a:r>
          </a:p>
        </p:txBody>
      </p:sp>
      <p:grpSp>
        <p:nvGrpSpPr>
          <p:cNvPr id="19" name="Группа 18"/>
          <p:cNvGrpSpPr/>
          <p:nvPr/>
        </p:nvGrpSpPr>
        <p:grpSpPr>
          <a:xfrm>
            <a:off x="444544" y="5309672"/>
            <a:ext cx="1221024" cy="142377"/>
            <a:chOff x="1115842" y="6303923"/>
            <a:chExt cx="2067647" cy="241096"/>
          </a:xfrm>
        </p:grpSpPr>
        <p:sp>
          <p:nvSpPr>
            <p:cNvPr id="20" name="Rounded Rectangle 46"/>
            <p:cNvSpPr/>
            <p:nvPr/>
          </p:nvSpPr>
          <p:spPr>
            <a:xfrm rot="18900000">
              <a:off x="1115842" y="6303923"/>
              <a:ext cx="243531" cy="241095"/>
            </a:xfrm>
            <a:prstGeom prst="roundRect">
              <a:avLst/>
            </a:prstGeom>
            <a:solidFill>
              <a:srgbClr val="0F6FC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63">
                <a:solidFill>
                  <a:schemeClr val="tx1"/>
                </a:solidFill>
              </a:endParaRPr>
            </a:p>
          </p:txBody>
        </p:sp>
        <p:sp>
          <p:nvSpPr>
            <p:cNvPr id="21" name="Rounded Rectangle 46"/>
            <p:cNvSpPr/>
            <p:nvPr/>
          </p:nvSpPr>
          <p:spPr>
            <a:xfrm rot="18900000">
              <a:off x="1571871" y="6303924"/>
              <a:ext cx="243531" cy="241095"/>
            </a:xfrm>
            <a:prstGeom prst="roundRect">
              <a:avLst/>
            </a:prstGeom>
            <a:solidFill>
              <a:srgbClr val="019DD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63">
                <a:solidFill>
                  <a:schemeClr val="tx1"/>
                </a:solidFill>
              </a:endParaRPr>
            </a:p>
          </p:txBody>
        </p:sp>
        <p:sp>
          <p:nvSpPr>
            <p:cNvPr id="22" name="Rounded Rectangle 46"/>
            <p:cNvSpPr/>
            <p:nvPr/>
          </p:nvSpPr>
          <p:spPr>
            <a:xfrm rot="18900000">
              <a:off x="2027900" y="6303923"/>
              <a:ext cx="243531" cy="241095"/>
            </a:xfrm>
            <a:prstGeom prst="roundRect">
              <a:avLst/>
            </a:prstGeom>
            <a:solidFill>
              <a:srgbClr val="0BD0D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63">
                <a:solidFill>
                  <a:schemeClr val="tx1"/>
                </a:solidFill>
              </a:endParaRPr>
            </a:p>
          </p:txBody>
        </p:sp>
        <p:sp>
          <p:nvSpPr>
            <p:cNvPr id="23" name="Rounded Rectangle 46"/>
            <p:cNvSpPr/>
            <p:nvPr/>
          </p:nvSpPr>
          <p:spPr>
            <a:xfrm rot="18900000">
              <a:off x="2483929" y="6303924"/>
              <a:ext cx="243531" cy="241095"/>
            </a:xfrm>
            <a:prstGeom prst="roundRect">
              <a:avLst/>
            </a:prstGeom>
            <a:solidFill>
              <a:srgbClr val="10CF9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63">
                <a:solidFill>
                  <a:schemeClr val="tx1"/>
                </a:solidFill>
              </a:endParaRPr>
            </a:p>
          </p:txBody>
        </p:sp>
        <p:sp>
          <p:nvSpPr>
            <p:cNvPr id="24" name="Rounded Rectangle 46"/>
            <p:cNvSpPr/>
            <p:nvPr/>
          </p:nvSpPr>
          <p:spPr>
            <a:xfrm rot="18900000">
              <a:off x="2939958" y="6303923"/>
              <a:ext cx="243531" cy="241095"/>
            </a:xfrm>
            <a:prstGeom prst="roundRect">
              <a:avLst/>
            </a:prstGeom>
            <a:solidFill>
              <a:srgbClr val="7CCC6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63">
                <a:solidFill>
                  <a:schemeClr val="tx1"/>
                </a:solidFill>
              </a:endParaRPr>
            </a:p>
          </p:txBody>
        </p:sp>
      </p:grpSp>
      <p:sp>
        <p:nvSpPr>
          <p:cNvPr id="13" name="Freeform 2">
            <a:extLst>
              <a:ext uri="{FF2B5EF4-FFF2-40B4-BE49-F238E27FC236}">
                <a16:creationId xmlns:a16="http://schemas.microsoft.com/office/drawing/2014/main" id="{74B3BA24-D67C-42B0-9F88-B25A14C6C93F}"/>
              </a:ext>
            </a:extLst>
          </p:cNvPr>
          <p:cNvSpPr/>
          <p:nvPr/>
        </p:nvSpPr>
        <p:spPr>
          <a:xfrm rot="5400000">
            <a:off x="918930" y="4894846"/>
            <a:ext cx="1738457" cy="3576321"/>
          </a:xfrm>
          <a:custGeom>
            <a:avLst/>
            <a:gdLst>
              <a:gd name="connsiteX0" fmla="*/ 4420533 w 4420533"/>
              <a:gd name="connsiteY0" fmla="*/ 0 h 9093841"/>
              <a:gd name="connsiteX1" fmla="*/ 4420533 w 4420533"/>
              <a:gd name="connsiteY1" fmla="*/ 9093841 h 9093841"/>
              <a:gd name="connsiteX2" fmla="*/ 89371 w 4420533"/>
              <a:gd name="connsiteY2" fmla="*/ 4762680 h 9093841"/>
              <a:gd name="connsiteX3" fmla="*/ 89371 w 4420533"/>
              <a:gd name="connsiteY3" fmla="*/ 4331162 h 9093841"/>
              <a:gd name="connsiteX4" fmla="*/ 4420533 w 4420533"/>
              <a:gd name="connsiteY4" fmla="*/ 0 h 90938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420533" h="9093841">
                <a:moveTo>
                  <a:pt x="4420533" y="0"/>
                </a:moveTo>
                <a:lnTo>
                  <a:pt x="4420533" y="9093841"/>
                </a:lnTo>
                <a:lnTo>
                  <a:pt x="89371" y="4762680"/>
                </a:lnTo>
                <a:cubicBezTo>
                  <a:pt x="-29791" y="4643520"/>
                  <a:pt x="-29791" y="4450323"/>
                  <a:pt x="89371" y="4331162"/>
                </a:cubicBezTo>
                <a:lnTo>
                  <a:pt x="4420533" y="0"/>
                </a:lnTo>
                <a:close/>
              </a:path>
            </a:pathLst>
          </a:custGeom>
          <a:solidFill>
            <a:srgbClr val="F4F4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63"/>
          </a:p>
        </p:txBody>
      </p:sp>
      <p:sp>
        <p:nvSpPr>
          <p:cNvPr id="14" name="Freeform 2">
            <a:extLst>
              <a:ext uri="{FF2B5EF4-FFF2-40B4-BE49-F238E27FC236}">
                <a16:creationId xmlns:a16="http://schemas.microsoft.com/office/drawing/2014/main" id="{A2963A4A-8B42-4DC2-95A1-691B94E5F30E}"/>
              </a:ext>
            </a:extLst>
          </p:cNvPr>
          <p:cNvSpPr/>
          <p:nvPr/>
        </p:nvSpPr>
        <p:spPr>
          <a:xfrm rot="16200000">
            <a:off x="918932" y="-918932"/>
            <a:ext cx="1738457" cy="3576321"/>
          </a:xfrm>
          <a:custGeom>
            <a:avLst/>
            <a:gdLst>
              <a:gd name="connsiteX0" fmla="*/ 4420533 w 4420533"/>
              <a:gd name="connsiteY0" fmla="*/ 0 h 9093841"/>
              <a:gd name="connsiteX1" fmla="*/ 4420533 w 4420533"/>
              <a:gd name="connsiteY1" fmla="*/ 9093841 h 9093841"/>
              <a:gd name="connsiteX2" fmla="*/ 89371 w 4420533"/>
              <a:gd name="connsiteY2" fmla="*/ 4762680 h 9093841"/>
              <a:gd name="connsiteX3" fmla="*/ 89371 w 4420533"/>
              <a:gd name="connsiteY3" fmla="*/ 4331162 h 9093841"/>
              <a:gd name="connsiteX4" fmla="*/ 4420533 w 4420533"/>
              <a:gd name="connsiteY4" fmla="*/ 0 h 90938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420533" h="9093841">
                <a:moveTo>
                  <a:pt x="4420533" y="0"/>
                </a:moveTo>
                <a:lnTo>
                  <a:pt x="4420533" y="9093841"/>
                </a:lnTo>
                <a:lnTo>
                  <a:pt x="89371" y="4762680"/>
                </a:lnTo>
                <a:cubicBezTo>
                  <a:pt x="-29791" y="4643520"/>
                  <a:pt x="-29791" y="4450323"/>
                  <a:pt x="89371" y="4331162"/>
                </a:cubicBezTo>
                <a:lnTo>
                  <a:pt x="4420533" y="0"/>
                </a:lnTo>
                <a:close/>
              </a:path>
            </a:pathLst>
          </a:custGeom>
          <a:solidFill>
            <a:srgbClr val="F4F4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63"/>
          </a:p>
        </p:txBody>
      </p:sp>
      <p:sp>
        <p:nvSpPr>
          <p:cNvPr id="15" name="object 5">
            <a:extLst>
              <a:ext uri="{FF2B5EF4-FFF2-40B4-BE49-F238E27FC236}">
                <a16:creationId xmlns:a16="http://schemas.microsoft.com/office/drawing/2014/main" id="{4BD94405-2057-4483-8B98-E2E4F69A94D3}"/>
              </a:ext>
            </a:extLst>
          </p:cNvPr>
          <p:cNvSpPr txBox="1"/>
          <p:nvPr/>
        </p:nvSpPr>
        <p:spPr>
          <a:xfrm>
            <a:off x="371491" y="2499462"/>
            <a:ext cx="3644387" cy="564096"/>
          </a:xfrm>
          <a:prstGeom prst="rect">
            <a:avLst/>
          </a:prstGeom>
        </p:spPr>
        <p:txBody>
          <a:bodyPr vert="horz" wrap="square" lIns="0" tIns="10001" rIns="0" bIns="0" rtlCol="0">
            <a:spAutoFit/>
          </a:bodyPr>
          <a:lstStyle/>
          <a:p>
            <a:pPr marL="9525">
              <a:spcBef>
                <a:spcPts val="79"/>
              </a:spcBef>
            </a:pPr>
            <a:r>
              <a:rPr lang="ru-RU" spc="-4" dirty="0" err="1">
                <a:solidFill>
                  <a:srgbClr val="465161"/>
                </a:solidFill>
                <a:latin typeface="Tahoma"/>
                <a:cs typeface="Tahoma"/>
              </a:rPr>
              <a:t>Қазақстан</a:t>
            </a:r>
            <a:r>
              <a:rPr lang="ru-RU" spc="-4" dirty="0">
                <a:solidFill>
                  <a:srgbClr val="465161"/>
                </a:solidFill>
                <a:latin typeface="Tahoma"/>
                <a:cs typeface="Tahoma"/>
              </a:rPr>
              <a:t> </a:t>
            </a:r>
            <a:r>
              <a:rPr lang="ru-RU" spc="-4" dirty="0" err="1">
                <a:solidFill>
                  <a:srgbClr val="465161"/>
                </a:solidFill>
                <a:latin typeface="Tahoma"/>
                <a:cs typeface="Tahoma"/>
              </a:rPr>
              <a:t>Республикасы</a:t>
            </a:r>
            <a:r>
              <a:rPr lang="ru-RU" spc="-4" dirty="0">
                <a:solidFill>
                  <a:srgbClr val="465161"/>
                </a:solidFill>
                <a:latin typeface="Tahoma"/>
                <a:cs typeface="Tahoma"/>
              </a:rPr>
              <a:t> </a:t>
            </a:r>
            <a:r>
              <a:rPr lang="ru-RU" spc="-4" dirty="0" err="1">
                <a:solidFill>
                  <a:srgbClr val="465161"/>
                </a:solidFill>
                <a:latin typeface="Tahoma"/>
                <a:cs typeface="Tahoma"/>
              </a:rPr>
              <a:t>Денсаулық</a:t>
            </a:r>
            <a:r>
              <a:rPr lang="ru-RU" spc="-4" dirty="0">
                <a:solidFill>
                  <a:srgbClr val="465161"/>
                </a:solidFill>
                <a:latin typeface="Tahoma"/>
                <a:cs typeface="Tahoma"/>
              </a:rPr>
              <a:t> </a:t>
            </a:r>
            <a:r>
              <a:rPr lang="ru-RU" spc="-4" dirty="0" err="1">
                <a:solidFill>
                  <a:srgbClr val="465161"/>
                </a:solidFill>
                <a:latin typeface="Tahoma"/>
                <a:cs typeface="Tahoma"/>
              </a:rPr>
              <a:t>сақтау</a:t>
            </a:r>
            <a:r>
              <a:rPr lang="ru-RU" spc="-4" dirty="0">
                <a:solidFill>
                  <a:srgbClr val="465161"/>
                </a:solidFill>
                <a:latin typeface="Tahoma"/>
                <a:cs typeface="Tahoma"/>
              </a:rPr>
              <a:t> </a:t>
            </a:r>
            <a:r>
              <a:rPr lang="ru-RU" spc="-4" dirty="0" err="1">
                <a:solidFill>
                  <a:srgbClr val="465161"/>
                </a:solidFill>
                <a:latin typeface="Tahoma"/>
                <a:cs typeface="Tahoma"/>
              </a:rPr>
              <a:t>министрлігі</a:t>
            </a:r>
            <a:endParaRPr lang="ru-RU" spc="-4" dirty="0">
              <a:solidFill>
                <a:srgbClr val="465161"/>
              </a:solidFill>
              <a:latin typeface="Tahoma"/>
              <a:cs typeface="Tahoma"/>
            </a:endParaRPr>
          </a:p>
        </p:txBody>
      </p:sp>
      <p:pic>
        <p:nvPicPr>
          <p:cNvPr id="16" name="Рисунок 15">
            <a:extLst>
              <a:ext uri="{FF2B5EF4-FFF2-40B4-BE49-F238E27FC236}">
                <a16:creationId xmlns:a16="http://schemas.microsoft.com/office/drawing/2014/main" id="{BEB88FE5-4BB5-443B-A43A-F90D7D4AF79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288" y="1400425"/>
            <a:ext cx="883328" cy="9100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255645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6" name="Прямая соединительная линия 45"/>
          <p:cNvCxnSpPr/>
          <p:nvPr/>
        </p:nvCxnSpPr>
        <p:spPr bwMode="auto">
          <a:xfrm flipH="1" flipV="1">
            <a:off x="57186" y="1601714"/>
            <a:ext cx="13610" cy="4327664"/>
          </a:xfrm>
          <a:prstGeom prst="line">
            <a:avLst/>
          </a:prstGeom>
          <a:ln w="50800" cap="rnd">
            <a:solidFill>
              <a:schemeClr val="accent5">
                <a:lumMod val="60000"/>
                <a:lumOff val="40000"/>
              </a:schemeClr>
            </a:solidFill>
            <a:prstDash val="sysDot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2" name="Группа 61"/>
          <p:cNvGrpSpPr/>
          <p:nvPr/>
        </p:nvGrpSpPr>
        <p:grpSpPr>
          <a:xfrm>
            <a:off x="87138" y="6085370"/>
            <a:ext cx="10515946" cy="403982"/>
            <a:chOff x="430312" y="6021288"/>
            <a:chExt cx="8739856" cy="456057"/>
          </a:xfrm>
        </p:grpSpPr>
        <p:sp>
          <p:nvSpPr>
            <p:cNvPr id="6" name="Пятиугольник 5"/>
            <p:cNvSpPr/>
            <p:nvPr/>
          </p:nvSpPr>
          <p:spPr>
            <a:xfrm>
              <a:off x="457200" y="6021288"/>
              <a:ext cx="8712968" cy="432048"/>
            </a:xfrm>
            <a:prstGeom prst="homePlate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594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" name="TextBox 6"/>
            <p:cNvSpPr txBox="1"/>
            <p:nvPr/>
          </p:nvSpPr>
          <p:spPr>
            <a:xfrm>
              <a:off x="430312" y="6081474"/>
              <a:ext cx="1617896" cy="38118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594" b="1" dirty="0">
                  <a:latin typeface="Arial" panose="020B0604020202020204" pitchFamily="34" charset="0"/>
                  <a:cs typeface="Arial" panose="020B0604020202020204" pitchFamily="34" charset="0"/>
                </a:rPr>
                <a:t>         2008 ж. </a:t>
              </a:r>
            </a:p>
          </p:txBody>
        </p:sp>
        <p:sp>
          <p:nvSpPr>
            <p:cNvPr id="34" name="TextBox 33"/>
            <p:cNvSpPr txBox="1"/>
            <p:nvPr/>
          </p:nvSpPr>
          <p:spPr>
            <a:xfrm>
              <a:off x="2910457" y="6096162"/>
              <a:ext cx="1134945" cy="38118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594" b="1" dirty="0">
                  <a:latin typeface="Arial" panose="020B0604020202020204" pitchFamily="34" charset="0"/>
                  <a:cs typeface="Arial" panose="020B0604020202020204" pitchFamily="34" charset="0"/>
                </a:rPr>
                <a:t>2011 ж.</a:t>
              </a:r>
            </a:p>
          </p:txBody>
        </p:sp>
        <p:sp>
          <p:nvSpPr>
            <p:cNvPr id="37" name="TextBox 36"/>
            <p:cNvSpPr txBox="1"/>
            <p:nvPr/>
          </p:nvSpPr>
          <p:spPr>
            <a:xfrm>
              <a:off x="4631458" y="6077822"/>
              <a:ext cx="1934742" cy="3811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594" b="1" dirty="0">
                  <a:latin typeface="Arial" panose="020B0604020202020204" pitchFamily="34" charset="0"/>
                  <a:cs typeface="Arial" panose="020B0604020202020204" pitchFamily="34" charset="0"/>
                </a:rPr>
                <a:t>2018 </a:t>
              </a:r>
              <a:r>
                <a:rPr lang="ru-RU" sz="1594" b="1" dirty="0" err="1">
                  <a:latin typeface="Arial" panose="020B0604020202020204" pitchFamily="34" charset="0"/>
                  <a:cs typeface="Arial" panose="020B0604020202020204" pitchFamily="34" charset="0"/>
                </a:rPr>
                <a:t>жылдан</a:t>
              </a:r>
              <a:r>
                <a:rPr lang="ru-RU" sz="1594" b="1" dirty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594" b="1" dirty="0" err="1">
                  <a:latin typeface="Arial" panose="020B0604020202020204" pitchFamily="34" charset="0"/>
                  <a:cs typeface="Arial" panose="020B0604020202020204" pitchFamily="34" charset="0"/>
                </a:rPr>
                <a:t>бастап</a:t>
              </a:r>
              <a:endParaRPr lang="ru-RU" sz="1594" b="1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50" name="Группа 49"/>
          <p:cNvGrpSpPr/>
          <p:nvPr/>
        </p:nvGrpSpPr>
        <p:grpSpPr>
          <a:xfrm>
            <a:off x="206091" y="1420306"/>
            <a:ext cx="2084665" cy="4552820"/>
            <a:chOff x="763757" y="1027324"/>
            <a:chExt cx="2353406" cy="5119396"/>
          </a:xfrm>
        </p:grpSpPr>
        <p:sp>
          <p:nvSpPr>
            <p:cNvPr id="49" name="Скругленный прямоугольник 48"/>
            <p:cNvSpPr/>
            <p:nvPr/>
          </p:nvSpPr>
          <p:spPr>
            <a:xfrm>
              <a:off x="763757" y="1182118"/>
              <a:ext cx="2345238" cy="4964602"/>
            </a:xfrm>
            <a:prstGeom prst="roundRect">
              <a:avLst>
                <a:gd name="adj" fmla="val 8139"/>
              </a:avLst>
            </a:prstGeom>
            <a:noFill/>
            <a:ln>
              <a:solidFill>
                <a:schemeClr val="accent5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endParaRPr lang="ru-RU" sz="1329" dirty="0"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endParaRPr lang="ru-RU" sz="1329" dirty="0"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just"/>
              <a:endParaRPr lang="ru-RU" sz="1063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just"/>
              <a:r>
                <a:rPr lang="ru-RU" sz="1063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.1 </a:t>
              </a:r>
              <a:r>
                <a:rPr lang="ru-RU" sz="1063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Денсаулық</a:t>
              </a:r>
              <a:r>
                <a:rPr lang="ru-RU" sz="1063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063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сақтаудың</a:t>
              </a:r>
              <a:r>
                <a:rPr lang="ru-RU" sz="1063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063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барлық</a:t>
              </a:r>
              <a:r>
                <a:rPr lang="ru-RU" sz="1063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063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мәселелері</a:t>
              </a:r>
              <a:r>
                <a:rPr lang="ru-RU" sz="1063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мен </a:t>
              </a:r>
              <a:r>
                <a:rPr lang="ru-RU" sz="1063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ұйымдары</a:t>
              </a:r>
              <a:r>
                <a:rPr lang="ru-RU" sz="1063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063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бір</a:t>
              </a:r>
              <a:r>
                <a:rPr lang="ru-RU" sz="1063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063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жүйемен</a:t>
              </a:r>
              <a:r>
                <a:rPr lang="ru-RU" sz="1063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(7 </a:t>
              </a:r>
              <a:r>
                <a:rPr lang="kk-KZ" sz="1063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компонент</a:t>
              </a:r>
              <a:r>
                <a:rPr lang="ru-RU" sz="1063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) </a:t>
              </a:r>
              <a:r>
                <a:rPr lang="ru-RU" sz="1063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автоматтандырылды</a:t>
              </a:r>
              <a:r>
                <a:rPr lang="ru-RU" sz="1063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.</a:t>
              </a:r>
            </a:p>
            <a:p>
              <a:pPr algn="just"/>
              <a:r>
                <a:rPr lang="ru-RU" sz="1063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Компьютерлердің</a:t>
              </a:r>
              <a:r>
                <a:rPr lang="ru-RU" sz="1063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063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бытыраңқылығы</a:t>
              </a:r>
              <a:endParaRPr lang="ru-RU" sz="1063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just"/>
              <a:r>
                <a:rPr lang="ru-RU" sz="1063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.2 </a:t>
              </a:r>
              <a:r>
                <a:rPr lang="ru-RU" sz="1063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Мақсаты</a:t>
              </a:r>
              <a:r>
                <a:rPr lang="ru-RU" sz="1063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- </a:t>
              </a:r>
              <a:r>
                <a:rPr lang="ru-RU" sz="1063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дұрыс</a:t>
              </a:r>
              <a:r>
                <a:rPr lang="ru-RU" sz="1063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063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талдамалық</a:t>
              </a:r>
              <a:r>
                <a:rPr lang="ru-RU" sz="1063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063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және</a:t>
              </a:r>
              <a:r>
                <a:rPr lang="ru-RU" sz="1063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063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статистикалық</a:t>
              </a:r>
              <a:r>
                <a:rPr lang="ru-RU" sz="1063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063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ақпаратты</a:t>
              </a:r>
              <a:r>
                <a:rPr lang="ru-RU" sz="1063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063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жинау</a:t>
              </a:r>
              <a:r>
                <a:rPr lang="ru-RU" sz="1063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.</a:t>
              </a:r>
            </a:p>
            <a:p>
              <a:pPr algn="just"/>
              <a:r>
                <a:rPr lang="ru-RU" sz="1063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.3 Архитектура: «</a:t>
              </a:r>
              <a:r>
                <a:rPr lang="ru-RU" sz="1063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қалың</a:t>
              </a:r>
              <a:r>
                <a:rPr lang="ru-RU" sz="1063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» клиент </a:t>
              </a:r>
              <a:r>
                <a:rPr lang="ru-RU" sz="1063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және</a:t>
              </a:r>
              <a:r>
                <a:rPr lang="ru-RU" sz="1063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063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серверлердің</a:t>
              </a:r>
              <a:r>
                <a:rPr lang="ru-RU" sz="1063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063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үш</a:t>
              </a:r>
              <a:r>
                <a:rPr lang="ru-RU" sz="1063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063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деңгейі</a:t>
              </a:r>
              <a:r>
                <a:rPr lang="ru-RU" sz="1063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063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арқылы</a:t>
              </a:r>
              <a:r>
                <a:rPr lang="ru-RU" sz="1063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063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өзара</a:t>
              </a:r>
              <a:r>
                <a:rPr lang="ru-RU" sz="1063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063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әрекеттесу</a:t>
              </a:r>
              <a:r>
                <a:rPr lang="ru-RU" sz="1063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: </a:t>
              </a:r>
              <a:r>
                <a:rPr lang="ru-RU" sz="1063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республикалық</a:t>
              </a:r>
              <a:r>
                <a:rPr lang="ru-RU" sz="1063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, </a:t>
              </a:r>
              <a:r>
                <a:rPr lang="ru-RU" sz="1063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облыстық</a:t>
              </a:r>
              <a:r>
                <a:rPr lang="ru-RU" sz="1063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, </a:t>
              </a:r>
              <a:r>
                <a:rPr lang="ru-RU" sz="1063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жергілікті</a:t>
              </a:r>
              <a:r>
                <a:rPr lang="ru-RU" sz="1063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.</a:t>
              </a:r>
            </a:p>
            <a:p>
              <a:pPr algn="just"/>
              <a:r>
                <a:rPr lang="ru-RU" sz="1063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.4 </a:t>
              </a:r>
              <a:r>
                <a:rPr lang="ru-RU" sz="1063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талаптарды</a:t>
              </a:r>
              <a:r>
                <a:rPr lang="ru-RU" sz="1063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063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қалыптастыру</a:t>
              </a:r>
              <a:r>
                <a:rPr lang="ru-RU" sz="1063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, </a:t>
              </a:r>
              <a:r>
                <a:rPr lang="ru-RU" sz="1063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әзірлеу</a:t>
              </a:r>
              <a:r>
                <a:rPr lang="ru-RU" sz="1063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, </a:t>
              </a:r>
              <a:r>
                <a:rPr lang="ru-RU" sz="1063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тестілеу</a:t>
              </a:r>
              <a:r>
                <a:rPr lang="ru-RU" sz="1063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, </a:t>
              </a:r>
              <a:r>
                <a:rPr lang="ru-RU" sz="1063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енгізу</a:t>
              </a:r>
              <a:r>
                <a:rPr lang="ru-RU" sz="1063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, </a:t>
              </a:r>
              <a:r>
                <a:rPr lang="ru-RU" sz="1063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қолдау</a:t>
              </a:r>
              <a:r>
                <a:rPr lang="ru-RU" sz="1063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, </a:t>
              </a:r>
              <a:r>
                <a:rPr lang="ru-RU" sz="1063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инфрақұрылымды</a:t>
              </a:r>
              <a:r>
                <a:rPr lang="ru-RU" sz="1063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063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сатып</a:t>
              </a:r>
              <a:r>
                <a:rPr lang="ru-RU" sz="1063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063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алудың</a:t>
              </a:r>
              <a:r>
                <a:rPr lang="ru-RU" sz="1063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063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барлық</a:t>
              </a:r>
              <a:r>
                <a:rPr lang="ru-RU" sz="1063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063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мәселелері</a:t>
              </a:r>
              <a:r>
                <a:rPr lang="ru-RU" sz="1063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– ҚР ДСМ </a:t>
              </a:r>
              <a:r>
                <a:rPr lang="ru-RU" sz="1063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басқарады</a:t>
              </a:r>
              <a:r>
                <a:rPr lang="ru-RU" sz="1063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063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және</a:t>
              </a:r>
              <a:r>
                <a:rPr lang="ru-RU" sz="1063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063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іске</a:t>
              </a:r>
              <a:r>
                <a:rPr lang="ru-RU" sz="1063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063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асырады</a:t>
              </a:r>
              <a:r>
                <a:rPr lang="ru-RU" sz="1063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.</a:t>
              </a:r>
            </a:p>
          </p:txBody>
        </p:sp>
        <p:sp>
          <p:nvSpPr>
            <p:cNvPr id="47" name="TextBox 46"/>
            <p:cNvSpPr txBox="1"/>
            <p:nvPr/>
          </p:nvSpPr>
          <p:spPr bwMode="auto">
            <a:xfrm>
              <a:off x="771925" y="1027324"/>
              <a:ext cx="2345238" cy="839528"/>
            </a:xfrm>
            <a:prstGeom prst="rect">
              <a:avLst/>
            </a:prstGeom>
            <a:solidFill>
              <a:schemeClr val="accent5">
                <a:lumMod val="60000"/>
                <a:lumOff val="40000"/>
              </a:schemeClr>
            </a:solidFill>
            <a:ln w="28575">
              <a:solidFill>
                <a:schemeClr val="accent5">
                  <a:lumMod val="60000"/>
                  <a:lumOff val="40000"/>
                </a:schemeClr>
              </a:solidFill>
            </a:ln>
          </p:spPr>
          <p:txBody>
            <a:bodyPr wrap="square">
              <a:spAutoFit/>
            </a:bodyPr>
            <a:lstStyle>
              <a:defPPr>
                <a:defRPr lang="ru-RU"/>
              </a:defPPr>
              <a:lvl1pPr>
                <a:defRPr sz="1050">
                  <a:latin typeface="Arial" pitchFamily="34" charset="0"/>
                  <a:cs typeface="Arial" pitchFamily="34" charset="0"/>
                </a:defRPr>
              </a:lvl1pPr>
            </a:lstStyle>
            <a:p>
              <a:pPr>
                <a:defRPr/>
              </a:pPr>
              <a:r>
                <a:rPr lang="ru-RU" sz="1063" b="1" dirty="0" err="1"/>
                <a:t>Денсаулық</a:t>
              </a:r>
              <a:r>
                <a:rPr lang="ru-RU" sz="1063" b="1" dirty="0"/>
                <a:t> </a:t>
              </a:r>
              <a:r>
                <a:rPr lang="ru-RU" sz="1063" b="1" dirty="0" err="1"/>
                <a:t>сақтаудың</a:t>
              </a:r>
              <a:r>
                <a:rPr lang="ru-RU" sz="1063" b="1" dirty="0"/>
                <a:t> </a:t>
              </a:r>
              <a:r>
                <a:rPr lang="ru-RU" sz="1063" b="1" dirty="0" err="1"/>
                <a:t>бірыңғай</a:t>
              </a:r>
              <a:r>
                <a:rPr lang="ru-RU" sz="1063" b="1" dirty="0"/>
                <a:t> </a:t>
              </a:r>
              <a:r>
                <a:rPr lang="ru-RU" sz="1063" b="1" dirty="0" err="1"/>
                <a:t>ақпараттық</a:t>
              </a:r>
              <a:r>
                <a:rPr lang="ru-RU" sz="1063" b="1" dirty="0"/>
                <a:t> </a:t>
              </a:r>
              <a:r>
                <a:rPr lang="ru-RU" sz="1063" b="1" dirty="0" err="1"/>
                <a:t>жүйесі</a:t>
              </a:r>
              <a:r>
                <a:rPr lang="ru-RU" sz="1063" b="1" dirty="0"/>
                <a:t> (ДСБАЖ) </a:t>
              </a:r>
              <a:r>
                <a:rPr lang="ru-RU" sz="1063" b="1" dirty="0" err="1"/>
                <a:t>жобасы</a:t>
              </a:r>
              <a:r>
                <a:rPr lang="ru-RU" sz="1063" b="1" dirty="0"/>
                <a:t> </a:t>
              </a:r>
              <a:r>
                <a:rPr lang="ru-RU" sz="1063" b="1" dirty="0" err="1"/>
                <a:t>іске</a:t>
              </a:r>
              <a:r>
                <a:rPr lang="ru-RU" sz="1063" b="1" dirty="0"/>
                <a:t> </a:t>
              </a:r>
              <a:r>
                <a:rPr lang="ru-RU" sz="1063" b="1" dirty="0" err="1"/>
                <a:t>қосылды</a:t>
              </a:r>
              <a:endParaRPr lang="ru-RU" sz="1063" b="1" dirty="0"/>
            </a:p>
          </p:txBody>
        </p:sp>
      </p:grpSp>
      <p:cxnSp>
        <p:nvCxnSpPr>
          <p:cNvPr id="52" name="Прямая соединительная линия 51"/>
          <p:cNvCxnSpPr/>
          <p:nvPr/>
        </p:nvCxnSpPr>
        <p:spPr bwMode="auto">
          <a:xfrm flipV="1">
            <a:off x="2440711" y="1585782"/>
            <a:ext cx="1" cy="4771682"/>
          </a:xfrm>
          <a:prstGeom prst="line">
            <a:avLst/>
          </a:prstGeom>
          <a:ln w="50800" cap="rnd">
            <a:solidFill>
              <a:schemeClr val="accent1">
                <a:lumMod val="60000"/>
                <a:lumOff val="40000"/>
              </a:schemeClr>
            </a:solidFill>
            <a:prstDash val="sysDot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3" name="Группа 52"/>
          <p:cNvGrpSpPr/>
          <p:nvPr/>
        </p:nvGrpSpPr>
        <p:grpSpPr>
          <a:xfrm>
            <a:off x="2619006" y="1557968"/>
            <a:ext cx="2303996" cy="2069487"/>
            <a:chOff x="800558" y="1034152"/>
            <a:chExt cx="2370583" cy="2152863"/>
          </a:xfrm>
        </p:grpSpPr>
        <p:sp>
          <p:nvSpPr>
            <p:cNvPr id="54" name="Скругленный прямоугольник 53"/>
            <p:cNvSpPr/>
            <p:nvPr/>
          </p:nvSpPr>
          <p:spPr>
            <a:xfrm>
              <a:off x="800558" y="1366972"/>
              <a:ext cx="2370583" cy="1820043"/>
            </a:xfrm>
            <a:prstGeom prst="roundRect">
              <a:avLst>
                <a:gd name="adj" fmla="val 8139"/>
              </a:avLst>
            </a:prstGeom>
            <a:noFill/>
            <a:ln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endParaRPr lang="ru-RU" sz="1329" dirty="0"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marL="151867" indent="-151867">
                <a:buFont typeface="Arial" pitchFamily="34" charset="0"/>
                <a:buChar char="•"/>
              </a:pPr>
              <a:r>
                <a:rPr lang="ru-RU" sz="1063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.1 </a:t>
              </a:r>
              <a:r>
                <a:rPr lang="ru-RU" sz="1063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Денсаулық</a:t>
              </a:r>
              <a:r>
                <a:rPr lang="ru-RU" sz="1063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063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сақтау</a:t>
              </a:r>
              <a:r>
                <a:rPr lang="ru-RU" sz="1063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063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жүйесіндегі</a:t>
              </a:r>
              <a:r>
                <a:rPr lang="ru-RU" sz="1063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063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негізгі</a:t>
              </a:r>
              <a:r>
                <a:rPr lang="ru-RU" sz="1063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063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реформаларды</a:t>
              </a:r>
              <a:r>
                <a:rPr lang="ru-RU" sz="1063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063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автоматтандыру</a:t>
              </a:r>
              <a:r>
                <a:rPr lang="ru-RU" sz="1063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063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үшін</a:t>
              </a:r>
              <a:r>
                <a:rPr lang="ru-RU" sz="1063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веб-</a:t>
              </a:r>
              <a:r>
                <a:rPr lang="ru-RU" sz="1063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қосымшалар</a:t>
              </a:r>
              <a:r>
                <a:rPr lang="ru-RU" sz="1063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(</a:t>
              </a:r>
              <a:r>
                <a:rPr lang="ru-RU" sz="1063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жұқа</a:t>
              </a:r>
              <a:r>
                <a:rPr lang="ru-RU" sz="1063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клиент) </a:t>
              </a:r>
              <a:r>
                <a:rPr lang="ru-RU" sz="1063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жасалды</a:t>
              </a:r>
              <a:r>
                <a:rPr lang="ru-RU" sz="1063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.</a:t>
              </a:r>
            </a:p>
            <a:p>
              <a:pPr marL="151867" indent="-151867">
                <a:buFont typeface="Arial" pitchFamily="34" charset="0"/>
                <a:buChar char="•"/>
              </a:pPr>
              <a:r>
                <a:rPr lang="ru-RU" sz="1063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.2 </a:t>
              </a:r>
              <a:r>
                <a:rPr lang="ru-RU" sz="1063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Қазақстан</a:t>
              </a:r>
              <a:r>
                <a:rPr lang="ru-RU" sz="1063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063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Республикасы</a:t>
              </a:r>
              <a:r>
                <a:rPr lang="ru-RU" sz="1063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063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бойынша</a:t>
              </a:r>
              <a:r>
                <a:rPr lang="ru-RU" sz="1063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онлайн </a:t>
              </a:r>
              <a:r>
                <a:rPr lang="ru-RU" sz="1063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режимде</a:t>
              </a:r>
              <a:r>
                <a:rPr lang="ru-RU" sz="1063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22 веб-портал </a:t>
              </a:r>
              <a:r>
                <a:rPr lang="ru-RU" sz="1063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жұмыс</a:t>
              </a:r>
              <a:r>
                <a:rPr lang="ru-RU" sz="1063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063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істейді</a:t>
              </a:r>
              <a:r>
                <a:rPr lang="ru-RU" sz="1063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.</a:t>
              </a:r>
            </a:p>
          </p:txBody>
        </p:sp>
        <p:sp>
          <p:nvSpPr>
            <p:cNvPr id="55" name="TextBox 54"/>
            <p:cNvSpPr txBox="1"/>
            <p:nvPr/>
          </p:nvSpPr>
          <p:spPr bwMode="auto">
            <a:xfrm>
              <a:off x="826103" y="1034152"/>
              <a:ext cx="2233729" cy="436374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 w="28575">
              <a:solidFill>
                <a:schemeClr val="accent1">
                  <a:lumMod val="60000"/>
                  <a:lumOff val="40000"/>
                </a:schemeClr>
              </a:solidFill>
            </a:ln>
          </p:spPr>
          <p:txBody>
            <a:bodyPr wrap="square">
              <a:spAutoFit/>
            </a:bodyPr>
            <a:lstStyle>
              <a:defPPr>
                <a:defRPr lang="ru-RU"/>
              </a:defPPr>
              <a:lvl1pPr>
                <a:defRPr sz="1050">
                  <a:latin typeface="Arial" pitchFamily="34" charset="0"/>
                  <a:cs typeface="Arial" pitchFamily="34" charset="0"/>
                </a:defRPr>
              </a:lvl1pPr>
            </a:lstStyle>
            <a:p>
              <a:pPr>
                <a:defRPr/>
              </a:pPr>
              <a:r>
                <a:rPr lang="ru-RU" sz="1063" b="1" dirty="0" err="1"/>
                <a:t>Алғашқы</a:t>
              </a:r>
              <a:r>
                <a:rPr lang="ru-RU" sz="1063" b="1" dirty="0"/>
                <a:t> веб-</a:t>
              </a:r>
              <a:r>
                <a:rPr lang="ru-RU" sz="1063" b="1" dirty="0" err="1"/>
                <a:t>қосымшалар</a:t>
              </a:r>
              <a:r>
                <a:rPr lang="ru-RU" sz="1063" b="1" dirty="0"/>
                <a:t> (</a:t>
              </a:r>
              <a:r>
                <a:rPr lang="ru-RU" sz="1063" b="1" dirty="0" err="1"/>
                <a:t>порталдар</a:t>
              </a:r>
              <a:r>
                <a:rPr lang="ru-RU" sz="1063" b="1" dirty="0"/>
                <a:t>)</a:t>
              </a:r>
            </a:p>
          </p:txBody>
        </p:sp>
      </p:grpSp>
      <p:grpSp>
        <p:nvGrpSpPr>
          <p:cNvPr id="57" name="Группа 56"/>
          <p:cNvGrpSpPr/>
          <p:nvPr/>
        </p:nvGrpSpPr>
        <p:grpSpPr>
          <a:xfrm>
            <a:off x="2639778" y="3695375"/>
            <a:ext cx="2168083" cy="2368722"/>
            <a:chOff x="459033" y="480341"/>
            <a:chExt cx="2525313" cy="2601323"/>
          </a:xfrm>
        </p:grpSpPr>
        <p:sp>
          <p:nvSpPr>
            <p:cNvPr id="58" name="Скругленный прямоугольник 57"/>
            <p:cNvSpPr/>
            <p:nvPr/>
          </p:nvSpPr>
          <p:spPr>
            <a:xfrm>
              <a:off x="459033" y="1127882"/>
              <a:ext cx="2482130" cy="1953782"/>
            </a:xfrm>
            <a:prstGeom prst="roundRect">
              <a:avLst>
                <a:gd name="adj" fmla="val 8139"/>
              </a:avLst>
            </a:prstGeom>
            <a:noFill/>
            <a:ln>
              <a:solidFill>
                <a:schemeClr val="accent4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just"/>
              <a:r>
                <a:rPr lang="ru-RU" sz="1063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3.1 ДБ </a:t>
              </a:r>
              <a:r>
                <a:rPr lang="ru-RU" sz="1063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жобасы</a:t>
              </a:r>
              <a:r>
                <a:rPr lang="ru-RU" sz="1063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063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шеңберінде</a:t>
              </a:r>
              <a:r>
                <a:rPr lang="ru-RU" sz="1063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063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ескірген</a:t>
              </a:r>
              <a:r>
                <a:rPr lang="ru-RU" sz="1063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063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технологиялардан</a:t>
              </a:r>
              <a:r>
                <a:rPr lang="ru-RU" sz="1063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бас </a:t>
              </a:r>
              <a:r>
                <a:rPr lang="ru-RU" sz="1063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тартуды</a:t>
              </a:r>
              <a:r>
                <a:rPr lang="ru-RU" sz="1063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, </a:t>
              </a:r>
              <a:r>
                <a:rPr lang="ru-RU" sz="1063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монополиялаудан</a:t>
              </a:r>
              <a:r>
                <a:rPr lang="ru-RU" sz="1063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063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және</a:t>
              </a:r>
              <a:r>
                <a:rPr lang="ru-RU" sz="1063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063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орталықтандырудан</a:t>
              </a:r>
              <a:r>
                <a:rPr lang="ru-RU" sz="1063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бас </a:t>
              </a:r>
              <a:r>
                <a:rPr lang="ru-RU" sz="1063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тартуды</a:t>
              </a:r>
              <a:r>
                <a:rPr lang="ru-RU" sz="1063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, ЖАО мен </a:t>
              </a:r>
              <a:r>
                <a:rPr lang="kk-KZ" sz="1063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МО</a:t>
              </a:r>
              <a:r>
                <a:rPr lang="ru-RU" sz="1063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даму </a:t>
              </a:r>
              <a:r>
                <a:rPr lang="ru-RU" sz="1063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процесіне</a:t>
              </a:r>
              <a:r>
                <a:rPr lang="ru-RU" sz="1063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063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тартуды</a:t>
              </a:r>
              <a:r>
                <a:rPr lang="ru-RU" sz="1063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063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көздейтін</a:t>
              </a:r>
              <a:r>
                <a:rPr lang="ru-RU" sz="1063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063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ұзақ</a:t>
              </a:r>
              <a:r>
                <a:rPr lang="ru-RU" sz="1063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063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мерзімді</a:t>
              </a:r>
              <a:r>
                <a:rPr lang="ru-RU" sz="1063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стратегия </a:t>
              </a:r>
              <a:r>
                <a:rPr lang="ru-RU" sz="1063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әзірленді</a:t>
              </a:r>
              <a:r>
                <a:rPr lang="ru-RU" sz="1063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063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және</a:t>
              </a:r>
              <a:r>
                <a:rPr lang="ru-RU" sz="1063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063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бекітілді</a:t>
              </a:r>
              <a:r>
                <a:rPr lang="ru-RU" sz="1063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.</a:t>
              </a:r>
            </a:p>
          </p:txBody>
        </p:sp>
        <p:sp>
          <p:nvSpPr>
            <p:cNvPr id="59" name="TextBox 58"/>
            <p:cNvSpPr txBox="1"/>
            <p:nvPr/>
          </p:nvSpPr>
          <p:spPr bwMode="auto">
            <a:xfrm>
              <a:off x="502216" y="480341"/>
              <a:ext cx="2482130" cy="640298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28575">
              <a:solidFill>
                <a:schemeClr val="accent4">
                  <a:lumMod val="60000"/>
                  <a:lumOff val="40000"/>
                </a:schemeClr>
              </a:solidFill>
            </a:ln>
          </p:spPr>
          <p:txBody>
            <a:bodyPr wrap="square">
              <a:spAutoFit/>
            </a:bodyPr>
            <a:lstStyle>
              <a:defPPr>
                <a:defRPr lang="ru-RU"/>
              </a:defPPr>
              <a:lvl1pPr>
                <a:defRPr sz="1050">
                  <a:latin typeface="Arial" pitchFamily="34" charset="0"/>
                  <a:cs typeface="Arial" pitchFamily="34" charset="0"/>
                </a:defRPr>
              </a:lvl1pPr>
            </a:lstStyle>
            <a:p>
              <a:pPr>
                <a:defRPr/>
              </a:pPr>
              <a:r>
                <a:rPr lang="ru-RU" sz="1063" b="1" dirty="0" err="1"/>
                <a:t>Электрондық</a:t>
              </a:r>
              <a:r>
                <a:rPr lang="ru-RU" sz="1063" b="1" dirty="0"/>
                <a:t> </a:t>
              </a:r>
              <a:r>
                <a:rPr lang="ru-RU" sz="1063" b="1" dirty="0" err="1"/>
                <a:t>денсаулық</a:t>
              </a:r>
              <a:r>
                <a:rPr lang="ru-RU" sz="1063" b="1" dirty="0"/>
                <a:t> </a:t>
              </a:r>
              <a:r>
                <a:rPr lang="ru-RU" sz="1063" b="1" dirty="0" err="1"/>
                <a:t>сақтауды</a:t>
              </a:r>
              <a:r>
                <a:rPr lang="ru-RU" sz="1063" b="1" dirty="0"/>
                <a:t> </a:t>
              </a:r>
              <a:r>
                <a:rPr lang="ru-RU" sz="1063" b="1" dirty="0" err="1"/>
                <a:t>дамыту</a:t>
              </a:r>
              <a:r>
                <a:rPr lang="ru-RU" sz="1063" b="1" dirty="0"/>
                <a:t> </a:t>
              </a:r>
              <a:r>
                <a:rPr lang="ru-RU" sz="1063" b="1" dirty="0" err="1"/>
                <a:t>тұжырымдамасы</a:t>
              </a:r>
              <a:endParaRPr lang="ru-RU" sz="1063" b="1" dirty="0"/>
            </a:p>
          </p:txBody>
        </p:sp>
      </p:grpSp>
      <p:grpSp>
        <p:nvGrpSpPr>
          <p:cNvPr id="28" name="Группа 27"/>
          <p:cNvGrpSpPr/>
          <p:nvPr/>
        </p:nvGrpSpPr>
        <p:grpSpPr>
          <a:xfrm>
            <a:off x="5113306" y="2842687"/>
            <a:ext cx="2826937" cy="1024199"/>
            <a:chOff x="807300" y="56361"/>
            <a:chExt cx="2395415" cy="1502998"/>
          </a:xfrm>
        </p:grpSpPr>
        <p:sp>
          <p:nvSpPr>
            <p:cNvPr id="29" name="Скругленный прямоугольник 28"/>
            <p:cNvSpPr/>
            <p:nvPr/>
          </p:nvSpPr>
          <p:spPr>
            <a:xfrm>
              <a:off x="826102" y="448843"/>
              <a:ext cx="2376613" cy="1110516"/>
            </a:xfrm>
            <a:prstGeom prst="roundRect">
              <a:avLst>
                <a:gd name="adj" fmla="val 8139"/>
              </a:avLst>
            </a:prstGeom>
            <a:noFill/>
            <a:ln>
              <a:solidFill>
                <a:schemeClr val="accent3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r>
                <a:rPr lang="ru-RU" sz="1063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5.1 </a:t>
              </a:r>
              <a:r>
                <a:rPr lang="ru-RU" sz="1063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Дүниежүзілік</a:t>
              </a:r>
              <a:r>
                <a:rPr lang="ru-RU" sz="1063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банк </a:t>
              </a:r>
              <a:r>
                <a:rPr lang="ru-RU" sz="1063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жобасының</a:t>
              </a:r>
              <a:r>
                <a:rPr lang="ru-RU" sz="1063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063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шеңберінде</a:t>
              </a:r>
              <a:r>
                <a:rPr lang="ru-RU" sz="1063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063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интероперабельділік</a:t>
              </a:r>
              <a:r>
                <a:rPr lang="ru-RU" sz="1063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(интеграция) </a:t>
              </a:r>
              <a:r>
                <a:rPr lang="ru-RU" sz="1063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платформасын</a:t>
              </a:r>
              <a:r>
                <a:rPr lang="ru-RU" sz="1063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063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енгізу</a:t>
              </a:r>
              <a:r>
                <a:rPr lang="ru-RU" sz="1063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063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басталды</a:t>
              </a:r>
              <a:r>
                <a:rPr lang="ru-RU" sz="1063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.</a:t>
              </a:r>
            </a:p>
          </p:txBody>
        </p:sp>
        <p:sp>
          <p:nvSpPr>
            <p:cNvPr id="30" name="TextBox 29"/>
            <p:cNvSpPr txBox="1"/>
            <p:nvPr/>
          </p:nvSpPr>
          <p:spPr bwMode="auto">
            <a:xfrm>
              <a:off x="807300" y="56361"/>
              <a:ext cx="2376613" cy="375536"/>
            </a:xfrm>
            <a:prstGeom prst="rect">
              <a:avLst/>
            </a:prstGeom>
            <a:solidFill>
              <a:srgbClr val="FFC000"/>
            </a:solidFill>
            <a:ln w="28575">
              <a:solidFill>
                <a:schemeClr val="accent3">
                  <a:lumMod val="60000"/>
                  <a:lumOff val="40000"/>
                </a:schemeClr>
              </a:solidFill>
            </a:ln>
          </p:spPr>
          <p:txBody>
            <a:bodyPr wrap="square">
              <a:spAutoFit/>
            </a:bodyPr>
            <a:lstStyle>
              <a:defPPr>
                <a:defRPr lang="ru-RU"/>
              </a:defPPr>
              <a:lvl1pPr>
                <a:defRPr sz="1050">
                  <a:latin typeface="Arial" pitchFamily="34" charset="0"/>
                  <a:cs typeface="Arial" pitchFamily="34" charset="0"/>
                </a:defRPr>
              </a:lvl1pPr>
            </a:lstStyle>
            <a:p>
              <a:pPr>
                <a:defRPr/>
              </a:pPr>
              <a:r>
                <a:rPr lang="ru-RU" sz="1063" b="1" dirty="0" err="1"/>
                <a:t>Интероперабельділік</a:t>
              </a:r>
              <a:r>
                <a:rPr lang="ru-RU" sz="1063" b="1" dirty="0"/>
                <a:t> </a:t>
              </a:r>
              <a:r>
                <a:rPr lang="ru-RU" sz="1063" b="1" dirty="0" err="1"/>
                <a:t>платформасы</a:t>
              </a:r>
              <a:endParaRPr lang="ru-RU" sz="1063" b="1" dirty="0"/>
            </a:p>
          </p:txBody>
        </p:sp>
      </p:grpSp>
      <p:cxnSp>
        <p:nvCxnSpPr>
          <p:cNvPr id="31" name="Прямая соединительная линия 30"/>
          <p:cNvCxnSpPr/>
          <p:nvPr/>
        </p:nvCxnSpPr>
        <p:spPr bwMode="auto">
          <a:xfrm flipH="1" flipV="1">
            <a:off x="4992134" y="1601714"/>
            <a:ext cx="19469" cy="4415156"/>
          </a:xfrm>
          <a:prstGeom prst="line">
            <a:avLst/>
          </a:prstGeom>
          <a:ln w="50800" cap="rnd">
            <a:solidFill>
              <a:srgbClr val="00B050"/>
            </a:solidFill>
            <a:prstDash val="sysDot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3" name="Группа 32"/>
          <p:cNvGrpSpPr/>
          <p:nvPr/>
        </p:nvGrpSpPr>
        <p:grpSpPr>
          <a:xfrm>
            <a:off x="5083228" y="1559290"/>
            <a:ext cx="2845921" cy="1249224"/>
            <a:chOff x="756759" y="1065311"/>
            <a:chExt cx="2303073" cy="822134"/>
          </a:xfrm>
        </p:grpSpPr>
        <p:sp>
          <p:nvSpPr>
            <p:cNvPr id="35" name="Скругленный прямоугольник 34"/>
            <p:cNvSpPr/>
            <p:nvPr/>
          </p:nvSpPr>
          <p:spPr>
            <a:xfrm>
              <a:off x="790078" y="1157118"/>
              <a:ext cx="2269754" cy="730327"/>
            </a:xfrm>
            <a:prstGeom prst="roundRect">
              <a:avLst>
                <a:gd name="adj" fmla="val 8139"/>
              </a:avLst>
            </a:prstGeom>
            <a:noFill/>
            <a:ln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endParaRPr lang="ru-RU" sz="1063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r>
                <a:rPr lang="ru-RU" sz="1063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4.1 ҚР </a:t>
              </a:r>
              <a:r>
                <a:rPr lang="ru-RU" sz="1063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медициналық</a:t>
              </a:r>
              <a:r>
                <a:rPr lang="ru-RU" sz="1063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063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ұйымдарында</a:t>
              </a:r>
              <a:r>
                <a:rPr lang="ru-RU" sz="1063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МАЖ </a:t>
              </a:r>
              <a:r>
                <a:rPr lang="ru-RU" sz="1063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енгізу</a:t>
              </a:r>
              <a:r>
                <a:rPr lang="ru-RU" sz="1063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063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санының</a:t>
              </a:r>
              <a:r>
                <a:rPr lang="ru-RU" sz="1063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063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тұрақты</a:t>
              </a:r>
              <a:r>
                <a:rPr lang="ru-RU" sz="1063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063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өсуі</a:t>
              </a:r>
              <a:r>
                <a:rPr lang="ru-RU" sz="1063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(50-ден 300-ге </a:t>
              </a:r>
              <a:r>
                <a:rPr lang="ru-RU" sz="1063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дейін</a:t>
              </a:r>
              <a:r>
                <a:rPr lang="ru-RU" sz="1063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)</a:t>
              </a:r>
            </a:p>
            <a:p>
              <a:r>
                <a:rPr lang="ru-RU" sz="1063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4.2 </a:t>
              </a:r>
              <a:r>
                <a:rPr lang="kk-KZ" sz="1063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Ө</a:t>
              </a:r>
              <a:r>
                <a:rPr lang="ru-RU" sz="1063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ңірлерде</a:t>
              </a:r>
              <a:r>
                <a:rPr lang="ru-RU" sz="1063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063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ақпараттандырудың</a:t>
              </a:r>
              <a:r>
                <a:rPr lang="ru-RU" sz="1063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063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сервистік</a:t>
              </a:r>
              <a:r>
                <a:rPr lang="ru-RU" sz="1063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063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моделін</a:t>
              </a:r>
              <a:r>
                <a:rPr lang="ru-RU" sz="1063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063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кеңінен</a:t>
              </a:r>
              <a:r>
                <a:rPr lang="ru-RU" sz="1063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063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пайдалану</a:t>
              </a:r>
              <a:r>
                <a:rPr lang="ru-RU" sz="1063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				</a:t>
              </a:r>
            </a:p>
            <a:p>
              <a:pPr marL="151867" indent="-151867">
                <a:buFont typeface="Arial" pitchFamily="34" charset="0"/>
                <a:buChar char="•"/>
              </a:pPr>
              <a:endParaRPr lang="ru-RU" sz="1063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6" name="TextBox 35"/>
            <p:cNvSpPr txBox="1"/>
            <p:nvPr/>
          </p:nvSpPr>
          <p:spPr bwMode="auto">
            <a:xfrm>
              <a:off x="756759" y="1065311"/>
              <a:ext cx="2269754" cy="168414"/>
            </a:xfrm>
            <a:prstGeom prst="rect">
              <a:avLst/>
            </a:prstGeom>
            <a:solidFill>
              <a:schemeClr val="accent6">
                <a:lumMod val="40000"/>
                <a:lumOff val="60000"/>
              </a:schemeClr>
            </a:solidFill>
            <a:ln w="28575">
              <a:solidFill>
                <a:schemeClr val="accent6">
                  <a:lumMod val="60000"/>
                  <a:lumOff val="40000"/>
                </a:schemeClr>
              </a:solidFill>
            </a:ln>
          </p:spPr>
          <p:txBody>
            <a:bodyPr wrap="square">
              <a:spAutoFit/>
            </a:bodyPr>
            <a:lstStyle>
              <a:defPPr>
                <a:defRPr lang="ru-RU"/>
              </a:defPPr>
              <a:lvl1pPr>
                <a:defRPr sz="1050">
                  <a:latin typeface="Arial" pitchFamily="34" charset="0"/>
                  <a:cs typeface="Arial" pitchFamily="34" charset="0"/>
                </a:defRPr>
              </a:lvl1pPr>
            </a:lstStyle>
            <a:p>
              <a:pPr>
                <a:defRPr/>
              </a:pPr>
              <a:r>
                <a:rPr lang="ru-RU" sz="1063" b="1" dirty="0"/>
                <a:t>МАЖ </a:t>
              </a:r>
              <a:r>
                <a:rPr lang="ru-RU" sz="1063" b="1" dirty="0" err="1"/>
                <a:t>енгізу</a:t>
              </a:r>
              <a:endParaRPr lang="ru-RU" sz="1063" b="1" dirty="0"/>
            </a:p>
          </p:txBody>
        </p:sp>
      </p:grpSp>
      <p:grpSp>
        <p:nvGrpSpPr>
          <p:cNvPr id="63" name="Группа 62"/>
          <p:cNvGrpSpPr/>
          <p:nvPr/>
        </p:nvGrpSpPr>
        <p:grpSpPr>
          <a:xfrm>
            <a:off x="5101029" y="3837330"/>
            <a:ext cx="2829302" cy="906336"/>
            <a:chOff x="806549" y="1062321"/>
            <a:chExt cx="2253283" cy="1589917"/>
          </a:xfrm>
        </p:grpSpPr>
        <p:sp>
          <p:nvSpPr>
            <p:cNvPr id="64" name="Скругленный прямоугольник 63"/>
            <p:cNvSpPr/>
            <p:nvPr/>
          </p:nvSpPr>
          <p:spPr>
            <a:xfrm>
              <a:off x="806549" y="1531492"/>
              <a:ext cx="2233730" cy="1120746"/>
            </a:xfrm>
            <a:prstGeom prst="roundRect">
              <a:avLst>
                <a:gd name="adj" fmla="val 8139"/>
              </a:avLst>
            </a:prstGeom>
            <a:solidFill>
              <a:schemeClr val="bg1"/>
            </a:solidFill>
            <a:ln>
              <a:solidFill>
                <a:schemeClr val="accent4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r>
                <a:rPr lang="ru-RU" sz="1063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6.1 </a:t>
              </a:r>
              <a:r>
                <a:rPr lang="ru-RU" sz="1063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Медициналық</a:t>
              </a:r>
              <a:r>
                <a:rPr lang="ru-RU" sz="1063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он-</a:t>
              </a:r>
              <a:r>
                <a:rPr lang="ru-RU" sz="1063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лайн</a:t>
              </a:r>
              <a:r>
                <a:rPr lang="ru-RU" sz="1063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063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сервистер</a:t>
              </a:r>
              <a:endParaRPr lang="ru-RU" sz="1063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r>
                <a:rPr lang="ru-RU" sz="1063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6.2 </a:t>
              </a:r>
              <a:r>
                <a:rPr lang="ru-RU" sz="1063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Пациенттерге</a:t>
              </a:r>
              <a:r>
                <a:rPr lang="ru-RU" sz="1063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063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арналған</a:t>
              </a:r>
              <a:r>
                <a:rPr lang="ru-RU" sz="1063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063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мобильді</a:t>
              </a:r>
              <a:r>
                <a:rPr lang="ru-RU" sz="1063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063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қосымшалар</a:t>
              </a:r>
              <a:endParaRPr lang="ru-RU" sz="1063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5" name="TextBox 64"/>
            <p:cNvSpPr txBox="1"/>
            <p:nvPr/>
          </p:nvSpPr>
          <p:spPr bwMode="auto">
            <a:xfrm>
              <a:off x="826103" y="1062321"/>
              <a:ext cx="2233729" cy="448913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28575">
              <a:solidFill>
                <a:schemeClr val="accent4">
                  <a:lumMod val="60000"/>
                  <a:lumOff val="40000"/>
                </a:schemeClr>
              </a:solidFill>
            </a:ln>
          </p:spPr>
          <p:txBody>
            <a:bodyPr wrap="square">
              <a:spAutoFit/>
            </a:bodyPr>
            <a:lstStyle>
              <a:defPPr>
                <a:defRPr lang="ru-RU"/>
              </a:defPPr>
              <a:lvl1pPr>
                <a:defRPr sz="1050">
                  <a:latin typeface="Arial" pitchFamily="34" charset="0"/>
                  <a:cs typeface="Arial" pitchFamily="34" charset="0"/>
                </a:defRPr>
              </a:lvl1pPr>
            </a:lstStyle>
            <a:p>
              <a:pPr>
                <a:defRPr/>
              </a:pPr>
              <a:r>
                <a:rPr lang="ru-RU" sz="1063" b="1" dirty="0" err="1"/>
                <a:t>Халықты</a:t>
              </a:r>
              <a:r>
                <a:rPr lang="ru-RU" sz="1063" b="1" dirty="0"/>
                <a:t> </a:t>
              </a:r>
              <a:r>
                <a:rPr lang="ru-RU" sz="1063" b="1" dirty="0" err="1"/>
                <a:t>тарту</a:t>
              </a:r>
              <a:endParaRPr lang="ru-RU" sz="1063" b="1" dirty="0"/>
            </a:p>
          </p:txBody>
        </p:sp>
      </p:grpSp>
      <p:grpSp>
        <p:nvGrpSpPr>
          <p:cNvPr id="71" name="Группа 70"/>
          <p:cNvGrpSpPr/>
          <p:nvPr/>
        </p:nvGrpSpPr>
        <p:grpSpPr>
          <a:xfrm>
            <a:off x="5080735" y="4795755"/>
            <a:ext cx="2804750" cy="1255317"/>
            <a:chOff x="826103" y="1034152"/>
            <a:chExt cx="2376613" cy="1629266"/>
          </a:xfrm>
        </p:grpSpPr>
        <p:sp>
          <p:nvSpPr>
            <p:cNvPr id="72" name="Скругленный прямоугольник 71"/>
            <p:cNvSpPr/>
            <p:nvPr/>
          </p:nvSpPr>
          <p:spPr>
            <a:xfrm>
              <a:off x="826103" y="1268759"/>
              <a:ext cx="2376613" cy="1394659"/>
            </a:xfrm>
            <a:prstGeom prst="roundRect">
              <a:avLst>
                <a:gd name="adj" fmla="val 8139"/>
              </a:avLst>
            </a:prstGeom>
            <a:noFill/>
            <a:ln>
              <a:solidFill>
                <a:schemeClr val="accent3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r>
                <a:rPr lang="ru-RU" sz="1063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6.3 </a:t>
              </a:r>
              <a:r>
                <a:rPr lang="ru-RU" sz="1063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Министрліктің</a:t>
              </a:r>
              <a:r>
                <a:rPr lang="ru-RU" sz="1063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АЖ мен </a:t>
              </a:r>
              <a:r>
                <a:rPr lang="ru-RU" sz="1063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сыртқы</a:t>
              </a:r>
              <a:r>
                <a:rPr lang="ru-RU" sz="1063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063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жүйелер</a:t>
              </a:r>
              <a:r>
                <a:rPr lang="ru-RU" sz="1063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063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арасындағы</a:t>
              </a:r>
              <a:r>
                <a:rPr lang="ru-RU" sz="1063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интеграция </a:t>
              </a:r>
              <a:r>
                <a:rPr lang="ru-RU" sz="1063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сервистерінің</a:t>
              </a:r>
              <a:r>
                <a:rPr lang="ru-RU" sz="1063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063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қабатын</a:t>
              </a:r>
              <a:r>
                <a:rPr lang="ru-RU" sz="1063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063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іске</a:t>
              </a:r>
              <a:r>
                <a:rPr lang="ru-RU" sz="1063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063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асыруды</a:t>
              </a:r>
              <a:r>
                <a:rPr lang="ru-RU" sz="1063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063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бастау</a:t>
              </a:r>
              <a:endParaRPr lang="ru-RU" sz="1063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r>
                <a:rPr lang="ru-RU" sz="1063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6.4 </a:t>
              </a:r>
              <a:r>
                <a:rPr lang="ru-RU" sz="1063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Интеграциялық</a:t>
              </a:r>
              <a:r>
                <a:rPr lang="ru-RU" sz="1063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063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процестерді</a:t>
              </a:r>
              <a:r>
                <a:rPr lang="ru-RU" sz="1063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063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реттеу</a:t>
              </a:r>
              <a:endParaRPr lang="ru-RU" sz="1063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3" name="TextBox 72"/>
            <p:cNvSpPr txBox="1"/>
            <p:nvPr/>
          </p:nvSpPr>
          <p:spPr bwMode="auto">
            <a:xfrm>
              <a:off x="826103" y="1034152"/>
              <a:ext cx="2376613" cy="332136"/>
            </a:xfrm>
            <a:prstGeom prst="rect">
              <a:avLst/>
            </a:prstGeom>
            <a:solidFill>
              <a:schemeClr val="accent5">
                <a:lumMod val="40000"/>
                <a:lumOff val="60000"/>
              </a:schemeClr>
            </a:solidFill>
            <a:ln w="28575">
              <a:solidFill>
                <a:schemeClr val="accent3">
                  <a:lumMod val="60000"/>
                  <a:lumOff val="40000"/>
                </a:schemeClr>
              </a:solidFill>
            </a:ln>
          </p:spPr>
          <p:txBody>
            <a:bodyPr wrap="square">
              <a:spAutoFit/>
            </a:bodyPr>
            <a:lstStyle>
              <a:defPPr>
                <a:defRPr lang="ru-RU"/>
              </a:defPPr>
              <a:lvl1pPr>
                <a:defRPr sz="1050">
                  <a:latin typeface="Arial" pitchFamily="34" charset="0"/>
                  <a:cs typeface="Arial" pitchFamily="34" charset="0"/>
                </a:defRPr>
              </a:lvl1pPr>
            </a:lstStyle>
            <a:p>
              <a:pPr>
                <a:defRPr/>
              </a:pPr>
              <a:r>
                <a:rPr lang="ru-RU" sz="1063" b="1" dirty="0"/>
                <a:t>ДСМ АЖ-</a:t>
              </a:r>
              <a:r>
                <a:rPr lang="ru-RU" sz="1063" b="1" dirty="0" err="1"/>
                <a:t>ны</a:t>
              </a:r>
              <a:r>
                <a:rPr lang="ru-RU" sz="1063" b="1" dirty="0"/>
                <a:t> МАЖ-бен </a:t>
              </a:r>
              <a:r>
                <a:rPr lang="ru-RU" sz="1063" b="1" dirty="0" err="1"/>
                <a:t>интеграциялау</a:t>
              </a:r>
              <a:endParaRPr lang="ru-RU" sz="1063" b="1" dirty="0"/>
            </a:p>
          </p:txBody>
        </p:sp>
      </p:grpSp>
      <p:sp>
        <p:nvSpPr>
          <p:cNvPr id="89" name="Скругленный прямоугольник 88"/>
          <p:cNvSpPr/>
          <p:nvPr/>
        </p:nvSpPr>
        <p:spPr>
          <a:xfrm>
            <a:off x="8108002" y="1832343"/>
            <a:ext cx="2407863" cy="4231754"/>
          </a:xfrm>
          <a:prstGeom prst="roundRect">
            <a:avLst>
              <a:gd name="adj" fmla="val 8139"/>
            </a:avLst>
          </a:prstGeom>
          <a:noFill/>
          <a:ln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995" tIns="53997" rIns="107995" bIns="53997" rtlCol="0" anchor="t"/>
          <a:lstStyle/>
          <a:p>
            <a:pPr algn="just"/>
            <a:endParaRPr lang="ru-RU" sz="1063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063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7.1 Денсаулық </a:t>
            </a:r>
            <a:r>
              <a:rPr lang="ru-RU" sz="1063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қтауда</a:t>
            </a:r>
            <a:r>
              <a:rPr lang="ru-RU" sz="1063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63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обильді</a:t>
            </a:r>
            <a:r>
              <a:rPr lang="ru-RU" sz="1063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63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осымшаларды</a:t>
            </a:r>
            <a:r>
              <a:rPr lang="ru-RU" sz="1063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63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нгізу</a:t>
            </a:r>
            <a:r>
              <a:rPr lang="ru-RU" sz="1063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r>
              <a:rPr lang="ru-RU" sz="1063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7.2 </a:t>
            </a:r>
            <a:r>
              <a:rPr lang="ru-RU" sz="1063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мдеуге</a:t>
            </a:r>
            <a:r>
              <a:rPr lang="ru-RU" sz="1063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63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атқызу</a:t>
            </a:r>
            <a:r>
              <a:rPr lang="ru-RU" sz="1063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63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ағдайлары</a:t>
            </a:r>
            <a:r>
              <a:rPr lang="ru-RU" sz="1063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63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sz="1063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63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азып</a:t>
            </a:r>
            <a:r>
              <a:rPr lang="ru-RU" sz="1063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63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ерілген</a:t>
            </a:r>
            <a:r>
              <a:rPr lang="ru-RU" sz="1063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63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цептілер</a:t>
            </a:r>
            <a:r>
              <a:rPr lang="ru-RU" sz="1063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63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уралы</a:t>
            </a:r>
            <a:r>
              <a:rPr lang="ru-RU" sz="1063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063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MS </a:t>
            </a:r>
            <a:r>
              <a:rPr lang="ru-RU" sz="1063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хабарлама</a:t>
            </a:r>
            <a:r>
              <a:rPr lang="ru-RU" sz="1063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r>
              <a:rPr lang="ru-RU" sz="1063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7.3 </a:t>
            </a:r>
            <a:r>
              <a:rPr lang="en-US" sz="1063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BM Watson for Oncology </a:t>
            </a:r>
            <a:r>
              <a:rPr lang="ru-RU" sz="1063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асанды</a:t>
            </a:r>
            <a:r>
              <a:rPr lang="ru-RU" sz="1063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интеллект </a:t>
            </a:r>
            <a:r>
              <a:rPr lang="ru-RU" sz="1063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йынша</a:t>
            </a:r>
            <a:r>
              <a:rPr lang="ru-RU" sz="1063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пилот </a:t>
            </a:r>
            <a:r>
              <a:rPr lang="ru-RU" sz="1063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үргізілді</a:t>
            </a:r>
            <a:endParaRPr lang="ru-RU" sz="1063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063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7.4 </a:t>
            </a:r>
            <a:r>
              <a:rPr lang="ru-RU" sz="1063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дициналық</a:t>
            </a:r>
            <a:r>
              <a:rPr lang="ru-RU" sz="1063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63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ұжаттаманы</a:t>
            </a:r>
            <a:r>
              <a:rPr lang="ru-RU" sz="1063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63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ғазсыз</a:t>
            </a:r>
            <a:r>
              <a:rPr lang="ru-RU" sz="1063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63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үргізуге</a:t>
            </a:r>
            <a:r>
              <a:rPr lang="ru-RU" sz="1063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63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өшу</a:t>
            </a:r>
            <a:r>
              <a:rPr lang="ru-RU" sz="1063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63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өніндегі</a:t>
            </a:r>
            <a:r>
              <a:rPr lang="ru-RU" sz="1063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63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илоттық</a:t>
            </a:r>
            <a:r>
              <a:rPr lang="ru-RU" sz="1063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63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оба</a:t>
            </a:r>
            <a:r>
              <a:rPr lang="ru-RU" sz="1063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63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яқталды</a:t>
            </a:r>
            <a:endParaRPr lang="ru-RU" sz="1063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063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7.4 </a:t>
            </a:r>
            <a:r>
              <a:rPr lang="ru-RU" sz="1063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оғамдық</a:t>
            </a:r>
            <a:r>
              <a:rPr lang="ru-RU" sz="1063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63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мақтану</a:t>
            </a:r>
            <a:r>
              <a:rPr lang="ru-RU" sz="1063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63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ъектілерінің</a:t>
            </a:r>
            <a:r>
              <a:rPr lang="ru-RU" sz="1063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63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ізілімі</a:t>
            </a:r>
            <a:r>
              <a:rPr lang="ru-RU" sz="1063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63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асалды</a:t>
            </a:r>
            <a:endParaRPr lang="ru-RU" sz="1063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063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7.5 </a:t>
            </a:r>
            <a:r>
              <a:rPr lang="ru-RU" sz="1063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енсаулық</a:t>
            </a:r>
            <a:r>
              <a:rPr lang="ru-RU" sz="1063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63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аспорты</a:t>
            </a:r>
            <a:r>
              <a:rPr lang="ru-RU" sz="1063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</a:t>
            </a:r>
            <a:r>
              <a:rPr lang="en-US" sz="1063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Gov</a:t>
            </a:r>
            <a:r>
              <a:rPr lang="en-US" sz="1063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63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лектрондық</a:t>
            </a:r>
            <a:r>
              <a:rPr lang="ru-RU" sz="1063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63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үкімет</a:t>
            </a:r>
            <a:r>
              <a:rPr lang="ru-RU" sz="1063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63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рталында</a:t>
            </a:r>
            <a:r>
              <a:rPr lang="ru-RU" sz="1063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63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sz="1063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063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Gov</a:t>
            </a:r>
            <a:r>
              <a:rPr lang="en-US" sz="1063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63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обильді</a:t>
            </a:r>
            <a:r>
              <a:rPr lang="ru-RU" sz="1063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63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ұсқасында</a:t>
            </a:r>
            <a:r>
              <a:rPr lang="ru-RU" sz="1063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63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дициналық</a:t>
            </a:r>
            <a:r>
              <a:rPr lang="ru-RU" sz="1063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63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азбалар</a:t>
            </a:r>
            <a:r>
              <a:rPr lang="ru-RU" sz="1063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63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ервисі</a:t>
            </a:r>
            <a:endParaRPr lang="ru-RU" sz="1063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063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7.6 МӘМС </a:t>
            </a:r>
            <a:r>
              <a:rPr lang="ru-RU" sz="1063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нгізу</a:t>
            </a:r>
            <a:endParaRPr lang="ru-RU" sz="1063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063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7.7. Медициналық </a:t>
            </a:r>
            <a:r>
              <a:rPr lang="ru-RU" sz="1063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ейнелерді</a:t>
            </a:r>
            <a:r>
              <a:rPr lang="ru-RU" sz="1063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сақтау </a:t>
            </a:r>
            <a:r>
              <a:rPr lang="ru-RU" sz="1063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үйесін</a:t>
            </a:r>
            <a:r>
              <a:rPr lang="ru-RU" sz="1063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- </a:t>
            </a:r>
            <a:r>
              <a:rPr lang="en-US" sz="1063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CS </a:t>
            </a:r>
            <a:r>
              <a:rPr lang="ru-RU" sz="1063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нгізу</a:t>
            </a:r>
            <a:r>
              <a:rPr lang="ru-RU" sz="1063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	</a:t>
            </a:r>
          </a:p>
        </p:txBody>
      </p:sp>
      <p:sp>
        <p:nvSpPr>
          <p:cNvPr id="93" name="TextBox 92"/>
          <p:cNvSpPr txBox="1"/>
          <p:nvPr/>
        </p:nvSpPr>
        <p:spPr bwMode="auto">
          <a:xfrm>
            <a:off x="8195221" y="1576870"/>
            <a:ext cx="2407863" cy="27262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28575">
            <a:solidFill>
              <a:schemeClr val="accent5">
                <a:lumMod val="60000"/>
                <a:lumOff val="40000"/>
              </a:schemeClr>
            </a:solidFill>
          </a:ln>
        </p:spPr>
        <p:txBody>
          <a:bodyPr wrap="square" lIns="107995" tIns="53997" rIns="107995" bIns="53997">
            <a:spAutoFit/>
          </a:bodyPr>
          <a:lstStyle>
            <a:defPPr>
              <a:defRPr lang="ru-RU"/>
            </a:defPPr>
            <a:lvl1pPr>
              <a:defRPr sz="900" b="1">
                <a:latin typeface="Calibri (Основной текст)"/>
                <a:cs typeface="Arial" pitchFamily="34" charset="0"/>
              </a:defRPr>
            </a:lvl1pPr>
          </a:lstStyle>
          <a:p>
            <a:pPr>
              <a:defRPr/>
            </a:pPr>
            <a:r>
              <a:rPr lang="ru-RU" sz="1063" dirty="0" err="1">
                <a:latin typeface="Arial" panose="020B0604020202020204" pitchFamily="34" charset="0"/>
              </a:rPr>
              <a:t>Пилоттық</a:t>
            </a:r>
            <a:r>
              <a:rPr lang="ru-RU" sz="1063" dirty="0">
                <a:latin typeface="Arial" panose="020B0604020202020204" pitchFamily="34" charset="0"/>
              </a:rPr>
              <a:t> </a:t>
            </a:r>
            <a:r>
              <a:rPr lang="ru-RU" sz="1063" dirty="0" err="1">
                <a:latin typeface="Arial" panose="020B0604020202020204" pitchFamily="34" charset="0"/>
              </a:rPr>
              <a:t>жобалар</a:t>
            </a:r>
            <a:endParaRPr lang="ru-RU" sz="1063" dirty="0">
              <a:latin typeface="Arial" panose="020B0604020202020204" pitchFamily="34" charset="0"/>
            </a:endParaRPr>
          </a:p>
        </p:txBody>
      </p:sp>
      <p:pic>
        <p:nvPicPr>
          <p:cNvPr id="85" name="Рисунок 8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9224" y="238051"/>
            <a:ext cx="637055" cy="657077"/>
          </a:xfrm>
          <a:prstGeom prst="rect">
            <a:avLst/>
          </a:prstGeom>
        </p:spPr>
      </p:pic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F7C30B-B612-411D-A87A-E8A1ABD133D8}" type="slidenum">
              <a:rPr lang="ru-RU" smtClean="0"/>
              <a:pPr/>
              <a:t>2</a:t>
            </a:fld>
            <a:endParaRPr lang="ru-RU" dirty="0"/>
          </a:p>
        </p:txBody>
      </p:sp>
      <p:cxnSp>
        <p:nvCxnSpPr>
          <p:cNvPr id="51" name="Прямая соединительная линия 50">
            <a:extLst>
              <a:ext uri="{FF2B5EF4-FFF2-40B4-BE49-F238E27FC236}">
                <a16:creationId xmlns:a16="http://schemas.microsoft.com/office/drawing/2014/main" id="{E3AF6081-F616-4A92-A881-90BCE3E0856B}"/>
              </a:ext>
            </a:extLst>
          </p:cNvPr>
          <p:cNvCxnSpPr>
            <a:cxnSpLocks/>
          </p:cNvCxnSpPr>
          <p:nvPr/>
        </p:nvCxnSpPr>
        <p:spPr>
          <a:xfrm>
            <a:off x="986231" y="1052361"/>
            <a:ext cx="9616853" cy="0"/>
          </a:xfrm>
          <a:prstGeom prst="line">
            <a:avLst/>
          </a:prstGeom>
          <a:ln w="25400">
            <a:solidFill>
              <a:schemeClr val="bg1">
                <a:lumMod val="85000"/>
              </a:schemeClr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Прямоугольник 59">
            <a:extLst>
              <a:ext uri="{FF2B5EF4-FFF2-40B4-BE49-F238E27FC236}">
                <a16:creationId xmlns:a16="http://schemas.microsoft.com/office/drawing/2014/main" id="{D39A38EB-FBA3-4EF6-89C8-6EDBD8C88366}"/>
              </a:ext>
            </a:extLst>
          </p:cNvPr>
          <p:cNvSpPr/>
          <p:nvPr/>
        </p:nvSpPr>
        <p:spPr>
          <a:xfrm>
            <a:off x="986232" y="231664"/>
            <a:ext cx="9688394" cy="82069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0749" tIns="30374" rIns="60749" bIns="30374" rtlCol="0" anchor="ctr"/>
          <a:lstStyle/>
          <a:p>
            <a:r>
              <a:rPr lang="kk-KZ" sz="28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ЕНСАУЛЫҚ САҚТАУДЫ ЦИФРЛАНДЫРУ ТАРИХЫ</a:t>
            </a:r>
            <a:endParaRPr lang="ru-RU" sz="28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9803507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86181" y="188964"/>
            <a:ext cx="10391055" cy="535859"/>
          </a:xfrm>
        </p:spPr>
        <p:txBody>
          <a:bodyPr anchor="t">
            <a:noAutofit/>
          </a:bodyPr>
          <a:lstStyle/>
          <a:p>
            <a:pPr algn="ctr"/>
            <a:r>
              <a:rPr lang="ru-RU" sz="1600" b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Бірлескен</a:t>
            </a:r>
            <a:r>
              <a:rPr lang="ru-RU" sz="16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600" b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ұмыс</a:t>
            </a:r>
            <a:r>
              <a:rPr lang="ru-RU" sz="16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600" b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обының</a:t>
            </a:r>
            <a:r>
              <a:rPr lang="ru-RU" sz="16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МАЖ-</a:t>
            </a:r>
            <a:r>
              <a:rPr lang="kk-KZ" sz="16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б</a:t>
            </a:r>
            <a:r>
              <a:rPr lang="ru-RU" sz="16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ен </a:t>
            </a:r>
            <a:r>
              <a:rPr lang="ru-RU" sz="1600" b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ұмыс</a:t>
            </a:r>
            <a:r>
              <a:rPr lang="ru-RU" sz="16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600" b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барысында</a:t>
            </a:r>
            <a:r>
              <a:rPr lang="ru-RU" sz="16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600" b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анықталған</a:t>
            </a:r>
            <a:r>
              <a:rPr lang="ru-RU" sz="16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600" b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роблемалық</a:t>
            </a:r>
            <a:r>
              <a:rPr lang="ru-RU" sz="16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600" b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әселелер</a:t>
            </a:r>
            <a:endParaRPr lang="ru-RU" sz="1600" b="1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grpSp>
        <p:nvGrpSpPr>
          <p:cNvPr id="11" name="Группа 10">
            <a:extLst>
              <a:ext uri="{FF2B5EF4-FFF2-40B4-BE49-F238E27FC236}">
                <a16:creationId xmlns:a16="http://schemas.microsoft.com/office/drawing/2014/main" id="{C65DA735-EA6F-47DC-ADDE-A463EAFC10C7}"/>
              </a:ext>
            </a:extLst>
          </p:cNvPr>
          <p:cNvGrpSpPr/>
          <p:nvPr/>
        </p:nvGrpSpPr>
        <p:grpSpPr>
          <a:xfrm>
            <a:off x="425768" y="1120881"/>
            <a:ext cx="1141794" cy="133138"/>
            <a:chOff x="1115842" y="6303923"/>
            <a:chExt cx="2067647" cy="241096"/>
          </a:xfrm>
        </p:grpSpPr>
        <p:sp>
          <p:nvSpPr>
            <p:cNvPr id="12" name="Rounded Rectangle 46">
              <a:extLst>
                <a:ext uri="{FF2B5EF4-FFF2-40B4-BE49-F238E27FC236}">
                  <a16:creationId xmlns:a16="http://schemas.microsoft.com/office/drawing/2014/main" id="{051385CD-0376-4B05-8B5F-8FD0157466F0}"/>
                </a:ext>
              </a:extLst>
            </p:cNvPr>
            <p:cNvSpPr/>
            <p:nvPr/>
          </p:nvSpPr>
          <p:spPr>
            <a:xfrm rot="18900000">
              <a:off x="1115842" y="6303923"/>
              <a:ext cx="243531" cy="241095"/>
            </a:xfrm>
            <a:prstGeom prst="roundRect">
              <a:avLst/>
            </a:prstGeom>
            <a:solidFill>
              <a:srgbClr val="0F6FC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63">
                <a:solidFill>
                  <a:schemeClr val="tx1"/>
                </a:solidFill>
              </a:endParaRPr>
            </a:p>
          </p:txBody>
        </p:sp>
        <p:sp>
          <p:nvSpPr>
            <p:cNvPr id="13" name="Rounded Rectangle 46">
              <a:extLst>
                <a:ext uri="{FF2B5EF4-FFF2-40B4-BE49-F238E27FC236}">
                  <a16:creationId xmlns:a16="http://schemas.microsoft.com/office/drawing/2014/main" id="{76E569CD-0457-4DE7-98F5-5C218D642477}"/>
                </a:ext>
              </a:extLst>
            </p:cNvPr>
            <p:cNvSpPr/>
            <p:nvPr/>
          </p:nvSpPr>
          <p:spPr>
            <a:xfrm rot="18900000">
              <a:off x="1571871" y="6303924"/>
              <a:ext cx="243531" cy="241095"/>
            </a:xfrm>
            <a:prstGeom prst="roundRect">
              <a:avLst/>
            </a:prstGeom>
            <a:solidFill>
              <a:srgbClr val="019DD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63">
                <a:solidFill>
                  <a:schemeClr val="tx1"/>
                </a:solidFill>
              </a:endParaRPr>
            </a:p>
          </p:txBody>
        </p:sp>
        <p:sp>
          <p:nvSpPr>
            <p:cNvPr id="14" name="Rounded Rectangle 46">
              <a:extLst>
                <a:ext uri="{FF2B5EF4-FFF2-40B4-BE49-F238E27FC236}">
                  <a16:creationId xmlns:a16="http://schemas.microsoft.com/office/drawing/2014/main" id="{C8229561-EEF4-4AF8-9CA2-1D39CEE06087}"/>
                </a:ext>
              </a:extLst>
            </p:cNvPr>
            <p:cNvSpPr/>
            <p:nvPr/>
          </p:nvSpPr>
          <p:spPr>
            <a:xfrm rot="18900000">
              <a:off x="2027900" y="6303923"/>
              <a:ext cx="243531" cy="241095"/>
            </a:xfrm>
            <a:prstGeom prst="roundRect">
              <a:avLst/>
            </a:prstGeom>
            <a:solidFill>
              <a:srgbClr val="0BD0D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63">
                <a:solidFill>
                  <a:schemeClr val="tx1"/>
                </a:solidFill>
              </a:endParaRPr>
            </a:p>
          </p:txBody>
        </p:sp>
        <p:sp>
          <p:nvSpPr>
            <p:cNvPr id="15" name="Rounded Rectangle 46">
              <a:extLst>
                <a:ext uri="{FF2B5EF4-FFF2-40B4-BE49-F238E27FC236}">
                  <a16:creationId xmlns:a16="http://schemas.microsoft.com/office/drawing/2014/main" id="{490A8DF6-5FEE-49E0-9911-E196C46BF8EA}"/>
                </a:ext>
              </a:extLst>
            </p:cNvPr>
            <p:cNvSpPr/>
            <p:nvPr/>
          </p:nvSpPr>
          <p:spPr>
            <a:xfrm rot="18900000">
              <a:off x="2483929" y="6303924"/>
              <a:ext cx="243531" cy="241095"/>
            </a:xfrm>
            <a:prstGeom prst="roundRect">
              <a:avLst/>
            </a:prstGeom>
            <a:solidFill>
              <a:srgbClr val="10CF9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63">
                <a:solidFill>
                  <a:schemeClr val="tx1"/>
                </a:solidFill>
              </a:endParaRPr>
            </a:p>
          </p:txBody>
        </p:sp>
        <p:sp>
          <p:nvSpPr>
            <p:cNvPr id="16" name="Rounded Rectangle 46">
              <a:extLst>
                <a:ext uri="{FF2B5EF4-FFF2-40B4-BE49-F238E27FC236}">
                  <a16:creationId xmlns:a16="http://schemas.microsoft.com/office/drawing/2014/main" id="{C0AF92B4-9FB8-4DEB-A661-982658F0D5BF}"/>
                </a:ext>
              </a:extLst>
            </p:cNvPr>
            <p:cNvSpPr/>
            <p:nvPr/>
          </p:nvSpPr>
          <p:spPr>
            <a:xfrm rot="18900000">
              <a:off x="2939958" y="6303923"/>
              <a:ext cx="243531" cy="241095"/>
            </a:xfrm>
            <a:prstGeom prst="roundRect">
              <a:avLst/>
            </a:prstGeom>
            <a:solidFill>
              <a:srgbClr val="7CCC6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63">
                <a:solidFill>
                  <a:schemeClr val="tx1"/>
                </a:solidFill>
              </a:endParaRPr>
            </a:p>
          </p:txBody>
        </p:sp>
      </p:grpSp>
      <p:cxnSp>
        <p:nvCxnSpPr>
          <p:cNvPr id="37" name="Прямая соединительная линия 36">
            <a:extLst>
              <a:ext uri="{FF2B5EF4-FFF2-40B4-BE49-F238E27FC236}">
                <a16:creationId xmlns:a16="http://schemas.microsoft.com/office/drawing/2014/main" id="{AFA0AC9F-EE54-4CBA-A0CA-486D9877F53D}"/>
              </a:ext>
            </a:extLst>
          </p:cNvPr>
          <p:cNvCxnSpPr>
            <a:cxnSpLocks/>
          </p:cNvCxnSpPr>
          <p:nvPr/>
        </p:nvCxnSpPr>
        <p:spPr>
          <a:xfrm flipH="1">
            <a:off x="314614" y="2919185"/>
            <a:ext cx="10067651" cy="1"/>
          </a:xfrm>
          <a:prstGeom prst="line">
            <a:avLst/>
          </a:prstGeom>
          <a:ln w="25400">
            <a:solidFill>
              <a:schemeClr val="bg1">
                <a:lumMod val="85000"/>
              </a:schemeClr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1" name="Группа 20">
            <a:extLst>
              <a:ext uri="{FF2B5EF4-FFF2-40B4-BE49-F238E27FC236}">
                <a16:creationId xmlns:a16="http://schemas.microsoft.com/office/drawing/2014/main" id="{0BF3E0D9-8C8C-4B1A-9742-2FCCA96545DD}"/>
              </a:ext>
            </a:extLst>
          </p:cNvPr>
          <p:cNvGrpSpPr/>
          <p:nvPr/>
        </p:nvGrpSpPr>
        <p:grpSpPr>
          <a:xfrm>
            <a:off x="174871" y="1442851"/>
            <a:ext cx="523493" cy="461665"/>
            <a:chOff x="490713" y="1351280"/>
            <a:chExt cx="523493" cy="461665"/>
          </a:xfrm>
        </p:grpSpPr>
        <p:grpSp>
          <p:nvGrpSpPr>
            <p:cNvPr id="27" name="Группа 26">
              <a:extLst>
                <a:ext uri="{FF2B5EF4-FFF2-40B4-BE49-F238E27FC236}">
                  <a16:creationId xmlns:a16="http://schemas.microsoft.com/office/drawing/2014/main" id="{790550D1-2801-44A1-940E-2B9DCE7F7B2F}"/>
                </a:ext>
              </a:extLst>
            </p:cNvPr>
            <p:cNvGrpSpPr/>
            <p:nvPr/>
          </p:nvGrpSpPr>
          <p:grpSpPr>
            <a:xfrm>
              <a:off x="490713" y="1392210"/>
              <a:ext cx="523493" cy="416270"/>
              <a:chOff x="622705" y="1899098"/>
              <a:chExt cx="1736162" cy="1380560"/>
            </a:xfrm>
          </p:grpSpPr>
          <p:sp>
            <p:nvSpPr>
              <p:cNvPr id="29" name="Rounded Rectangle 46">
                <a:extLst>
                  <a:ext uri="{FF2B5EF4-FFF2-40B4-BE49-F238E27FC236}">
                    <a16:creationId xmlns:a16="http://schemas.microsoft.com/office/drawing/2014/main" id="{BEFF7DBA-DFF1-484F-B07E-9DEB6CE8477D}"/>
                  </a:ext>
                </a:extLst>
              </p:cNvPr>
              <p:cNvSpPr/>
              <p:nvPr/>
            </p:nvSpPr>
            <p:spPr>
              <a:xfrm rot="18900000">
                <a:off x="964360" y="1899098"/>
                <a:ext cx="1394507" cy="1380560"/>
              </a:xfrm>
              <a:prstGeom prst="roundRect">
                <a:avLst/>
              </a:prstGeom>
              <a:solidFill>
                <a:srgbClr val="F4F4F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32" name="Rounded Rectangle 46">
                <a:extLst>
                  <a:ext uri="{FF2B5EF4-FFF2-40B4-BE49-F238E27FC236}">
                    <a16:creationId xmlns:a16="http://schemas.microsoft.com/office/drawing/2014/main" id="{C46C9590-039C-4778-91DD-7C37DA143AFC}"/>
                  </a:ext>
                </a:extLst>
              </p:cNvPr>
              <p:cNvSpPr/>
              <p:nvPr/>
            </p:nvSpPr>
            <p:spPr>
              <a:xfrm rot="18900000">
                <a:off x="622705" y="1899098"/>
                <a:ext cx="1394507" cy="1380560"/>
              </a:xfrm>
              <a:prstGeom prst="roundRect">
                <a:avLst/>
              </a:prstGeom>
              <a:gradFill>
                <a:gsLst>
                  <a:gs pos="0">
                    <a:srgbClr val="0F6FC6"/>
                  </a:gs>
                  <a:gs pos="100000">
                    <a:srgbClr val="0BD0D9"/>
                  </a:gs>
                  <a:gs pos="57000">
                    <a:srgbClr val="019DD8"/>
                  </a:gs>
                </a:gsLst>
                <a:lin ang="4800000" scaled="0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927449A4-F4C4-4B34-B853-1668BD2463CE}"/>
                </a:ext>
              </a:extLst>
            </p:cNvPr>
            <p:cNvSpPr txBox="1"/>
            <p:nvPr/>
          </p:nvSpPr>
          <p:spPr>
            <a:xfrm>
              <a:off x="508000" y="1351280"/>
              <a:ext cx="380232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2400" b="1" dirty="0">
                  <a:solidFill>
                    <a:schemeClr val="bg1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1</a:t>
              </a:r>
            </a:p>
          </p:txBody>
        </p:sp>
      </p:grpSp>
      <p:sp>
        <p:nvSpPr>
          <p:cNvPr id="20" name="Прямоугольник 19">
            <a:extLst>
              <a:ext uri="{FF2B5EF4-FFF2-40B4-BE49-F238E27FC236}">
                <a16:creationId xmlns:a16="http://schemas.microsoft.com/office/drawing/2014/main" id="{3192D6AA-7A61-4B2A-BC40-DAC13B494C72}"/>
              </a:ext>
            </a:extLst>
          </p:cNvPr>
          <p:cNvSpPr/>
          <p:nvPr/>
        </p:nvSpPr>
        <p:spPr>
          <a:xfrm>
            <a:off x="902047" y="1370868"/>
            <a:ext cx="3962416" cy="10926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300" b="1" dirty="0" err="1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Дәрігер</a:t>
            </a:r>
            <a:r>
              <a:rPr lang="ru-RU" sz="13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300" b="1" dirty="0" err="1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татистикалық</a:t>
            </a:r>
            <a:r>
              <a:rPr lang="ru-RU" sz="13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300" b="1" dirty="0" err="1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ысандарға</a:t>
            </a:r>
            <a:r>
              <a:rPr lang="ru-RU" sz="13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300" b="1" dirty="0" err="1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ұмыс</a:t>
            </a:r>
            <a:r>
              <a:rPr lang="ru-RU" sz="13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300" b="1" dirty="0" err="1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істейді</a:t>
            </a:r>
            <a:r>
              <a:rPr lang="ru-RU" sz="13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. АЖ-</a:t>
            </a:r>
            <a:r>
              <a:rPr lang="ru-RU" sz="1300" b="1" dirty="0" err="1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дағы</a:t>
            </a:r>
            <a:r>
              <a:rPr lang="ru-RU" sz="13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300" b="1" dirty="0" err="1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дәрігердің</a:t>
            </a:r>
            <a:r>
              <a:rPr lang="ru-RU" sz="13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300" b="1" dirty="0" err="1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ұмысы</a:t>
            </a:r>
            <a:r>
              <a:rPr lang="ru-RU" sz="13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300" b="1" dirty="0" err="1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қаржыландыру</a:t>
            </a:r>
            <a:r>
              <a:rPr lang="ru-RU" sz="13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300" b="1" dirty="0" err="1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үшін</a:t>
            </a:r>
            <a:r>
              <a:rPr lang="ru-RU" sz="13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300" b="1" dirty="0" err="1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деректерді</a:t>
            </a:r>
            <a:r>
              <a:rPr lang="ru-RU" sz="13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300" b="1" dirty="0" err="1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қалыптастырумен</a:t>
            </a:r>
            <a:r>
              <a:rPr lang="ru-RU" sz="13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300" b="1" dirty="0" err="1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байланысты</a:t>
            </a:r>
            <a:r>
              <a:rPr lang="ru-RU" sz="13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(МӘМС / ТМККК </a:t>
            </a:r>
            <a:r>
              <a:rPr lang="ru-RU" sz="1300" b="1" dirty="0" err="1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акеттері</a:t>
            </a:r>
            <a:r>
              <a:rPr lang="ru-RU" sz="13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)</a:t>
            </a:r>
          </a:p>
        </p:txBody>
      </p:sp>
      <p:sp>
        <p:nvSpPr>
          <p:cNvPr id="22" name="Прямоугольник 21">
            <a:extLst>
              <a:ext uri="{FF2B5EF4-FFF2-40B4-BE49-F238E27FC236}">
                <a16:creationId xmlns:a16="http://schemas.microsoft.com/office/drawing/2014/main" id="{18BB8C35-7086-4C63-B939-DD04306EF61E}"/>
              </a:ext>
            </a:extLst>
          </p:cNvPr>
          <p:cNvSpPr/>
          <p:nvPr/>
        </p:nvSpPr>
        <p:spPr>
          <a:xfrm>
            <a:off x="5365746" y="1304278"/>
            <a:ext cx="5149853" cy="8925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300" dirty="0" err="1">
                <a:solidFill>
                  <a:schemeClr val="tx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Есепке</a:t>
            </a:r>
            <a:r>
              <a:rPr lang="ru-RU" sz="1300" dirty="0">
                <a:solidFill>
                  <a:schemeClr val="tx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300" dirty="0" err="1">
                <a:solidFill>
                  <a:schemeClr val="tx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алудың</a:t>
            </a:r>
            <a:r>
              <a:rPr lang="ru-RU" sz="1300" dirty="0">
                <a:solidFill>
                  <a:schemeClr val="tx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, </a:t>
            </a:r>
            <a:r>
              <a:rPr lang="ru-RU" sz="1300" dirty="0" err="1">
                <a:solidFill>
                  <a:schemeClr val="tx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есеп</a:t>
            </a:r>
            <a:r>
              <a:rPr lang="ru-RU" sz="1300" dirty="0">
                <a:solidFill>
                  <a:schemeClr val="tx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300" dirty="0" err="1">
                <a:solidFill>
                  <a:schemeClr val="tx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берудің</a:t>
            </a:r>
            <a:r>
              <a:rPr lang="ru-RU" sz="1300" dirty="0">
                <a:solidFill>
                  <a:schemeClr val="tx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300" dirty="0" err="1">
                <a:solidFill>
                  <a:schemeClr val="tx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барлық</a:t>
            </a:r>
            <a:r>
              <a:rPr lang="ru-RU" sz="1300" dirty="0">
                <a:solidFill>
                  <a:schemeClr val="tx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300" dirty="0" err="1">
                <a:solidFill>
                  <a:schemeClr val="tx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роцестерін</a:t>
            </a:r>
            <a:r>
              <a:rPr lang="ru-RU" sz="1300" dirty="0">
                <a:solidFill>
                  <a:schemeClr val="tx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, </a:t>
            </a:r>
            <a:r>
              <a:rPr lang="ru-RU" sz="1300" dirty="0" err="1">
                <a:solidFill>
                  <a:schemeClr val="tx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бірінші</a:t>
            </a:r>
            <a:r>
              <a:rPr lang="ru-RU" sz="1300" dirty="0">
                <a:solidFill>
                  <a:schemeClr val="tx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300" dirty="0" err="1">
                <a:solidFill>
                  <a:schemeClr val="tx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езекте</a:t>
            </a:r>
            <a:r>
              <a:rPr lang="ru-RU" sz="1300" dirty="0">
                <a:solidFill>
                  <a:schemeClr val="tx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, </a:t>
            </a:r>
            <a:r>
              <a:rPr lang="ru-RU" sz="1300" dirty="0" err="1">
                <a:solidFill>
                  <a:schemeClr val="tx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едициналық</a:t>
            </a:r>
            <a:r>
              <a:rPr lang="ru-RU" sz="1300" dirty="0">
                <a:solidFill>
                  <a:schemeClr val="tx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300" dirty="0" err="1">
                <a:solidFill>
                  <a:schemeClr val="tx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өмек</a:t>
            </a:r>
            <a:r>
              <a:rPr lang="ru-RU" sz="1300" dirty="0">
                <a:solidFill>
                  <a:schemeClr val="tx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300" dirty="0" err="1">
                <a:solidFill>
                  <a:schemeClr val="tx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өрсетуге</a:t>
            </a:r>
            <a:r>
              <a:rPr lang="ru-RU" sz="1300" dirty="0">
                <a:solidFill>
                  <a:schemeClr val="tx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300" dirty="0" err="1">
                <a:solidFill>
                  <a:schemeClr val="tx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арналған</a:t>
            </a:r>
            <a:r>
              <a:rPr lang="ru-RU" sz="1300" dirty="0">
                <a:solidFill>
                  <a:schemeClr val="tx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300" dirty="0" err="1">
                <a:solidFill>
                  <a:schemeClr val="tx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шығындарды</a:t>
            </a:r>
            <a:r>
              <a:rPr lang="ru-RU" sz="1300" dirty="0">
                <a:solidFill>
                  <a:schemeClr val="tx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300" dirty="0" err="1">
                <a:solidFill>
                  <a:schemeClr val="tx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өтеуге</a:t>
            </a:r>
            <a:r>
              <a:rPr lang="ru-RU" sz="1300" dirty="0">
                <a:solidFill>
                  <a:schemeClr val="tx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300" dirty="0" err="1">
                <a:solidFill>
                  <a:schemeClr val="tx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қатысты</a:t>
            </a:r>
            <a:r>
              <a:rPr lang="ru-RU" sz="1300" dirty="0">
                <a:solidFill>
                  <a:schemeClr val="tx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300" dirty="0" err="1">
                <a:solidFill>
                  <a:schemeClr val="tx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ңайлату</a:t>
            </a:r>
            <a:r>
              <a:rPr lang="ru-RU" sz="1300" dirty="0">
                <a:solidFill>
                  <a:schemeClr val="tx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.</a:t>
            </a:r>
          </a:p>
          <a:p>
            <a:r>
              <a:rPr lang="ru-RU" sz="1300" dirty="0">
                <a:solidFill>
                  <a:schemeClr val="tx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ҚР ДСМ </a:t>
            </a:r>
            <a:r>
              <a:rPr lang="ru-RU" sz="1300" dirty="0" err="1">
                <a:solidFill>
                  <a:schemeClr val="tx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барлық</a:t>
            </a:r>
            <a:r>
              <a:rPr lang="ru-RU" sz="1300" dirty="0">
                <a:solidFill>
                  <a:schemeClr val="tx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300" dirty="0" err="1">
                <a:solidFill>
                  <a:schemeClr val="tx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татистикалық</a:t>
            </a:r>
            <a:r>
              <a:rPr lang="ru-RU" sz="1300" dirty="0">
                <a:solidFill>
                  <a:schemeClr val="tx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300" dirty="0" err="1">
                <a:solidFill>
                  <a:schemeClr val="tx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орталдарын</a:t>
            </a:r>
            <a:r>
              <a:rPr lang="ru-RU" sz="1300" dirty="0">
                <a:solidFill>
                  <a:schemeClr val="tx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300" dirty="0" err="1">
                <a:solidFill>
                  <a:schemeClr val="tx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арату</a:t>
            </a:r>
            <a:r>
              <a:rPr lang="ru-RU" sz="1300" dirty="0">
                <a:solidFill>
                  <a:schemeClr val="tx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.</a:t>
            </a:r>
          </a:p>
        </p:txBody>
      </p:sp>
      <p:sp>
        <p:nvSpPr>
          <p:cNvPr id="24" name="Равнобедренный треугольник 23">
            <a:extLst>
              <a:ext uri="{FF2B5EF4-FFF2-40B4-BE49-F238E27FC236}">
                <a16:creationId xmlns:a16="http://schemas.microsoft.com/office/drawing/2014/main" id="{D48A5D38-284B-45EC-A906-B91DE7F83F7F}"/>
              </a:ext>
            </a:extLst>
          </p:cNvPr>
          <p:cNvSpPr/>
          <p:nvPr/>
        </p:nvSpPr>
        <p:spPr>
          <a:xfrm rot="5400000">
            <a:off x="4452165" y="1872217"/>
            <a:ext cx="1325880" cy="228600"/>
          </a:xfrm>
          <a:prstGeom prst="triangle">
            <a:avLst/>
          </a:prstGeom>
          <a:solidFill>
            <a:srgbClr val="DEEB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43" name="Группа 42">
            <a:extLst>
              <a:ext uri="{FF2B5EF4-FFF2-40B4-BE49-F238E27FC236}">
                <a16:creationId xmlns:a16="http://schemas.microsoft.com/office/drawing/2014/main" id="{D1DAEC1D-CEB9-4EA8-B0AD-3FE73412D28C}"/>
              </a:ext>
            </a:extLst>
          </p:cNvPr>
          <p:cNvGrpSpPr/>
          <p:nvPr/>
        </p:nvGrpSpPr>
        <p:grpSpPr>
          <a:xfrm>
            <a:off x="174851" y="3586427"/>
            <a:ext cx="523493" cy="461665"/>
            <a:chOff x="490713" y="1351280"/>
            <a:chExt cx="523493" cy="461665"/>
          </a:xfrm>
        </p:grpSpPr>
        <p:grpSp>
          <p:nvGrpSpPr>
            <p:cNvPr id="44" name="Группа 43">
              <a:extLst>
                <a:ext uri="{FF2B5EF4-FFF2-40B4-BE49-F238E27FC236}">
                  <a16:creationId xmlns:a16="http://schemas.microsoft.com/office/drawing/2014/main" id="{7D497AE2-DF3E-4760-91AF-83C70B2ACC86}"/>
                </a:ext>
              </a:extLst>
            </p:cNvPr>
            <p:cNvGrpSpPr/>
            <p:nvPr/>
          </p:nvGrpSpPr>
          <p:grpSpPr>
            <a:xfrm>
              <a:off x="490713" y="1392210"/>
              <a:ext cx="523493" cy="416270"/>
              <a:chOff x="622705" y="1899098"/>
              <a:chExt cx="1736162" cy="1380560"/>
            </a:xfrm>
          </p:grpSpPr>
          <p:sp>
            <p:nvSpPr>
              <p:cNvPr id="46" name="Rounded Rectangle 46">
                <a:extLst>
                  <a:ext uri="{FF2B5EF4-FFF2-40B4-BE49-F238E27FC236}">
                    <a16:creationId xmlns:a16="http://schemas.microsoft.com/office/drawing/2014/main" id="{18CEBBA4-14B2-4BFD-B12B-2163D1EF5AA6}"/>
                  </a:ext>
                </a:extLst>
              </p:cNvPr>
              <p:cNvSpPr/>
              <p:nvPr/>
            </p:nvSpPr>
            <p:spPr>
              <a:xfrm rot="18900000">
                <a:off x="964360" y="1899098"/>
                <a:ext cx="1394507" cy="1380560"/>
              </a:xfrm>
              <a:prstGeom prst="roundRect">
                <a:avLst/>
              </a:prstGeom>
              <a:solidFill>
                <a:srgbClr val="F4F4F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47" name="Rounded Rectangle 46">
                <a:extLst>
                  <a:ext uri="{FF2B5EF4-FFF2-40B4-BE49-F238E27FC236}">
                    <a16:creationId xmlns:a16="http://schemas.microsoft.com/office/drawing/2014/main" id="{DB86FE3C-F879-464B-BEE0-6A4FD9ED8A4B}"/>
                  </a:ext>
                </a:extLst>
              </p:cNvPr>
              <p:cNvSpPr/>
              <p:nvPr/>
            </p:nvSpPr>
            <p:spPr>
              <a:xfrm rot="18900000">
                <a:off x="622705" y="1899098"/>
                <a:ext cx="1394507" cy="1380560"/>
              </a:xfrm>
              <a:prstGeom prst="roundRect">
                <a:avLst/>
              </a:prstGeom>
              <a:gradFill>
                <a:gsLst>
                  <a:gs pos="0">
                    <a:srgbClr val="0F6FC6"/>
                  </a:gs>
                  <a:gs pos="100000">
                    <a:srgbClr val="0BD0D9"/>
                  </a:gs>
                  <a:gs pos="57000">
                    <a:srgbClr val="019DD8"/>
                  </a:gs>
                </a:gsLst>
                <a:lin ang="4800000" scaled="0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47244319-3D90-4627-9F8D-4E2FF2A69A60}"/>
                </a:ext>
              </a:extLst>
            </p:cNvPr>
            <p:cNvSpPr txBox="1"/>
            <p:nvPr/>
          </p:nvSpPr>
          <p:spPr>
            <a:xfrm>
              <a:off x="508000" y="1351280"/>
              <a:ext cx="380232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2400" b="1" dirty="0">
                  <a:solidFill>
                    <a:schemeClr val="bg1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2</a:t>
              </a:r>
            </a:p>
          </p:txBody>
        </p:sp>
      </p:grpSp>
      <p:sp>
        <p:nvSpPr>
          <p:cNvPr id="76" name="Прямоугольник 75">
            <a:extLst>
              <a:ext uri="{FF2B5EF4-FFF2-40B4-BE49-F238E27FC236}">
                <a16:creationId xmlns:a16="http://schemas.microsoft.com/office/drawing/2014/main" id="{9E92A326-CD1C-4920-AA8F-FC2C4AFCFEE3}"/>
              </a:ext>
            </a:extLst>
          </p:cNvPr>
          <p:cNvSpPr/>
          <p:nvPr/>
        </p:nvSpPr>
        <p:spPr>
          <a:xfrm>
            <a:off x="5892462" y="5650735"/>
            <a:ext cx="1314784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200" b="1" dirty="0" err="1">
                <a:solidFill>
                  <a:srgbClr val="0F6FC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ауаптылар</a:t>
            </a:r>
            <a:r>
              <a:rPr lang="ru-RU" sz="1200" b="1" dirty="0">
                <a:solidFill>
                  <a:srgbClr val="0F6FC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:</a:t>
            </a:r>
            <a:endParaRPr lang="ru-RU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77" name="Shape 5654">
            <a:extLst>
              <a:ext uri="{FF2B5EF4-FFF2-40B4-BE49-F238E27FC236}">
                <a16:creationId xmlns:a16="http://schemas.microsoft.com/office/drawing/2014/main" id="{BB5D5706-5EE5-4B11-9C3D-922584993728}"/>
              </a:ext>
            </a:extLst>
          </p:cNvPr>
          <p:cNvSpPr/>
          <p:nvPr/>
        </p:nvSpPr>
        <p:spPr>
          <a:xfrm>
            <a:off x="5618029" y="5693881"/>
            <a:ext cx="204152" cy="19070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4800"/>
                </a:moveTo>
                <a:cubicBezTo>
                  <a:pt x="21600" y="6300"/>
                  <a:pt x="21600" y="6300"/>
                  <a:pt x="21600" y="6300"/>
                </a:cubicBezTo>
                <a:cubicBezTo>
                  <a:pt x="20197" y="6300"/>
                  <a:pt x="20197" y="6300"/>
                  <a:pt x="20197" y="6300"/>
                </a:cubicBezTo>
                <a:cubicBezTo>
                  <a:pt x="20197" y="6600"/>
                  <a:pt x="19636" y="6900"/>
                  <a:pt x="19356" y="6900"/>
                </a:cubicBezTo>
                <a:cubicBezTo>
                  <a:pt x="2244" y="6900"/>
                  <a:pt x="2244" y="6900"/>
                  <a:pt x="2244" y="6900"/>
                </a:cubicBezTo>
                <a:cubicBezTo>
                  <a:pt x="1683" y="6900"/>
                  <a:pt x="1403" y="6600"/>
                  <a:pt x="1403" y="6300"/>
                </a:cubicBezTo>
                <a:cubicBezTo>
                  <a:pt x="0" y="6300"/>
                  <a:pt x="0" y="6300"/>
                  <a:pt x="0" y="6300"/>
                </a:cubicBezTo>
                <a:cubicBezTo>
                  <a:pt x="0" y="4800"/>
                  <a:pt x="0" y="4800"/>
                  <a:pt x="0" y="4800"/>
                </a:cubicBezTo>
                <a:cubicBezTo>
                  <a:pt x="10660" y="0"/>
                  <a:pt x="10660" y="0"/>
                  <a:pt x="10660" y="0"/>
                </a:cubicBezTo>
                <a:lnTo>
                  <a:pt x="21600" y="4800"/>
                </a:lnTo>
                <a:close/>
                <a:moveTo>
                  <a:pt x="21600" y="20100"/>
                </a:moveTo>
                <a:cubicBezTo>
                  <a:pt x="21600" y="21600"/>
                  <a:pt x="21600" y="21600"/>
                  <a:pt x="21600" y="21600"/>
                </a:cubicBezTo>
                <a:cubicBezTo>
                  <a:pt x="0" y="21600"/>
                  <a:pt x="0" y="21600"/>
                  <a:pt x="0" y="21600"/>
                </a:cubicBezTo>
                <a:cubicBezTo>
                  <a:pt x="0" y="20100"/>
                  <a:pt x="0" y="20100"/>
                  <a:pt x="0" y="20100"/>
                </a:cubicBezTo>
                <a:cubicBezTo>
                  <a:pt x="0" y="19800"/>
                  <a:pt x="281" y="19500"/>
                  <a:pt x="842" y="19500"/>
                </a:cubicBezTo>
                <a:cubicBezTo>
                  <a:pt x="20758" y="19500"/>
                  <a:pt x="20758" y="19500"/>
                  <a:pt x="20758" y="19500"/>
                </a:cubicBezTo>
                <a:cubicBezTo>
                  <a:pt x="21319" y="19500"/>
                  <a:pt x="21600" y="19800"/>
                  <a:pt x="21600" y="20100"/>
                </a:cubicBezTo>
                <a:close/>
                <a:moveTo>
                  <a:pt x="5610" y="7800"/>
                </a:moveTo>
                <a:cubicBezTo>
                  <a:pt x="5610" y="17100"/>
                  <a:pt x="5610" y="17100"/>
                  <a:pt x="5610" y="17100"/>
                </a:cubicBezTo>
                <a:cubicBezTo>
                  <a:pt x="7013" y="17100"/>
                  <a:pt x="7013" y="17100"/>
                  <a:pt x="7013" y="17100"/>
                </a:cubicBezTo>
                <a:cubicBezTo>
                  <a:pt x="7013" y="7800"/>
                  <a:pt x="7013" y="7800"/>
                  <a:pt x="7013" y="7800"/>
                </a:cubicBezTo>
                <a:cubicBezTo>
                  <a:pt x="10099" y="7800"/>
                  <a:pt x="10099" y="7800"/>
                  <a:pt x="10099" y="7800"/>
                </a:cubicBezTo>
                <a:cubicBezTo>
                  <a:pt x="10099" y="17100"/>
                  <a:pt x="10099" y="17100"/>
                  <a:pt x="10099" y="17100"/>
                </a:cubicBezTo>
                <a:cubicBezTo>
                  <a:pt x="11501" y="17100"/>
                  <a:pt x="11501" y="17100"/>
                  <a:pt x="11501" y="17100"/>
                </a:cubicBezTo>
                <a:cubicBezTo>
                  <a:pt x="11501" y="7800"/>
                  <a:pt x="11501" y="7800"/>
                  <a:pt x="11501" y="7800"/>
                </a:cubicBezTo>
                <a:cubicBezTo>
                  <a:pt x="14306" y="7800"/>
                  <a:pt x="14306" y="7800"/>
                  <a:pt x="14306" y="7800"/>
                </a:cubicBezTo>
                <a:cubicBezTo>
                  <a:pt x="14306" y="17100"/>
                  <a:pt x="14306" y="17100"/>
                  <a:pt x="14306" y="17100"/>
                </a:cubicBezTo>
                <a:cubicBezTo>
                  <a:pt x="15709" y="17100"/>
                  <a:pt x="15709" y="17100"/>
                  <a:pt x="15709" y="17100"/>
                </a:cubicBezTo>
                <a:cubicBezTo>
                  <a:pt x="15709" y="7800"/>
                  <a:pt x="15709" y="7800"/>
                  <a:pt x="15709" y="7800"/>
                </a:cubicBezTo>
                <a:cubicBezTo>
                  <a:pt x="18795" y="7800"/>
                  <a:pt x="18795" y="7800"/>
                  <a:pt x="18795" y="7800"/>
                </a:cubicBezTo>
                <a:cubicBezTo>
                  <a:pt x="18795" y="17100"/>
                  <a:pt x="18795" y="17100"/>
                  <a:pt x="18795" y="17100"/>
                </a:cubicBezTo>
                <a:cubicBezTo>
                  <a:pt x="19356" y="17100"/>
                  <a:pt x="19356" y="17100"/>
                  <a:pt x="19356" y="17100"/>
                </a:cubicBezTo>
                <a:cubicBezTo>
                  <a:pt x="19636" y="17100"/>
                  <a:pt x="20197" y="17400"/>
                  <a:pt x="20197" y="17700"/>
                </a:cubicBezTo>
                <a:cubicBezTo>
                  <a:pt x="20197" y="18600"/>
                  <a:pt x="20197" y="18600"/>
                  <a:pt x="20197" y="18600"/>
                </a:cubicBezTo>
                <a:cubicBezTo>
                  <a:pt x="1403" y="18600"/>
                  <a:pt x="1403" y="18600"/>
                  <a:pt x="1403" y="18600"/>
                </a:cubicBezTo>
                <a:cubicBezTo>
                  <a:pt x="1403" y="17700"/>
                  <a:pt x="1403" y="17700"/>
                  <a:pt x="1403" y="17700"/>
                </a:cubicBezTo>
                <a:cubicBezTo>
                  <a:pt x="1403" y="17400"/>
                  <a:pt x="1683" y="17100"/>
                  <a:pt x="2244" y="17100"/>
                </a:cubicBezTo>
                <a:cubicBezTo>
                  <a:pt x="2805" y="17100"/>
                  <a:pt x="2805" y="17100"/>
                  <a:pt x="2805" y="17100"/>
                </a:cubicBezTo>
                <a:cubicBezTo>
                  <a:pt x="2805" y="7800"/>
                  <a:pt x="2805" y="7800"/>
                  <a:pt x="2805" y="7800"/>
                </a:cubicBezTo>
                <a:lnTo>
                  <a:pt x="5610" y="7800"/>
                </a:lnTo>
                <a:close/>
              </a:path>
            </a:pathLst>
          </a:custGeom>
          <a:solidFill>
            <a:srgbClr val="0F6FC6"/>
          </a:solidFill>
          <a:ln w="12700" cap="flat">
            <a:noFill/>
            <a:miter lim="400000"/>
          </a:ln>
          <a:effectLst/>
        </p:spPr>
        <p:txBody>
          <a:bodyPr wrap="square" lIns="45713" tIns="45713" rIns="45713" bIns="45713" numCol="1" anchor="t">
            <a:noAutofit/>
          </a:bodyPr>
          <a:lstStyle/>
          <a:p>
            <a:pPr defTabSz="457109">
              <a:defRPr sz="24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pPr>
            <a:endParaRPr sz="2400"/>
          </a:p>
        </p:txBody>
      </p:sp>
      <p:sp>
        <p:nvSpPr>
          <p:cNvPr id="78" name="Прямоугольник 77">
            <a:extLst>
              <a:ext uri="{FF2B5EF4-FFF2-40B4-BE49-F238E27FC236}">
                <a16:creationId xmlns:a16="http://schemas.microsoft.com/office/drawing/2014/main" id="{33F66A74-0A94-4005-808D-CD164EF9D909}"/>
              </a:ext>
            </a:extLst>
          </p:cNvPr>
          <p:cNvSpPr/>
          <p:nvPr/>
        </p:nvSpPr>
        <p:spPr>
          <a:xfrm>
            <a:off x="5887016" y="5944602"/>
            <a:ext cx="4328429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2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ҚР ДСМ, </a:t>
            </a:r>
            <a:r>
              <a:rPr lang="ru-RU" sz="1200" b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ӘлМСҚ</a:t>
            </a:r>
            <a:r>
              <a:rPr lang="ru-RU" sz="12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, РЭДСО, ЖАО (МАЖ </a:t>
            </a:r>
            <a:r>
              <a:rPr lang="ru-RU" sz="1200" b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әзірлеушілері</a:t>
            </a:r>
            <a:r>
              <a:rPr lang="ru-RU" sz="12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)</a:t>
            </a:r>
            <a:endParaRPr lang="ru-RU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79" name="Прямоугольник 78">
            <a:extLst>
              <a:ext uri="{FF2B5EF4-FFF2-40B4-BE49-F238E27FC236}">
                <a16:creationId xmlns:a16="http://schemas.microsoft.com/office/drawing/2014/main" id="{588DB5FA-8206-431E-A864-1920B8BF41A7}"/>
              </a:ext>
            </a:extLst>
          </p:cNvPr>
          <p:cNvSpPr/>
          <p:nvPr/>
        </p:nvSpPr>
        <p:spPr>
          <a:xfrm>
            <a:off x="5697264" y="2108351"/>
            <a:ext cx="1269899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200" b="1" dirty="0" err="1">
                <a:solidFill>
                  <a:srgbClr val="0F6FC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ауаптылар</a:t>
            </a:r>
            <a:r>
              <a:rPr lang="ru-RU" sz="1200" b="1" dirty="0">
                <a:solidFill>
                  <a:srgbClr val="0F6FC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:</a:t>
            </a:r>
            <a:endParaRPr lang="ru-RU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80" name="Shape 5654">
            <a:extLst>
              <a:ext uri="{FF2B5EF4-FFF2-40B4-BE49-F238E27FC236}">
                <a16:creationId xmlns:a16="http://schemas.microsoft.com/office/drawing/2014/main" id="{D51E10F2-CAAA-4499-99E6-FFB870617D1E}"/>
              </a:ext>
            </a:extLst>
          </p:cNvPr>
          <p:cNvSpPr/>
          <p:nvPr/>
        </p:nvSpPr>
        <p:spPr>
          <a:xfrm>
            <a:off x="5492270" y="2133852"/>
            <a:ext cx="204152" cy="19070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4800"/>
                </a:moveTo>
                <a:cubicBezTo>
                  <a:pt x="21600" y="6300"/>
                  <a:pt x="21600" y="6300"/>
                  <a:pt x="21600" y="6300"/>
                </a:cubicBezTo>
                <a:cubicBezTo>
                  <a:pt x="20197" y="6300"/>
                  <a:pt x="20197" y="6300"/>
                  <a:pt x="20197" y="6300"/>
                </a:cubicBezTo>
                <a:cubicBezTo>
                  <a:pt x="20197" y="6600"/>
                  <a:pt x="19636" y="6900"/>
                  <a:pt x="19356" y="6900"/>
                </a:cubicBezTo>
                <a:cubicBezTo>
                  <a:pt x="2244" y="6900"/>
                  <a:pt x="2244" y="6900"/>
                  <a:pt x="2244" y="6900"/>
                </a:cubicBezTo>
                <a:cubicBezTo>
                  <a:pt x="1683" y="6900"/>
                  <a:pt x="1403" y="6600"/>
                  <a:pt x="1403" y="6300"/>
                </a:cubicBezTo>
                <a:cubicBezTo>
                  <a:pt x="0" y="6300"/>
                  <a:pt x="0" y="6300"/>
                  <a:pt x="0" y="6300"/>
                </a:cubicBezTo>
                <a:cubicBezTo>
                  <a:pt x="0" y="4800"/>
                  <a:pt x="0" y="4800"/>
                  <a:pt x="0" y="4800"/>
                </a:cubicBezTo>
                <a:cubicBezTo>
                  <a:pt x="10660" y="0"/>
                  <a:pt x="10660" y="0"/>
                  <a:pt x="10660" y="0"/>
                </a:cubicBezTo>
                <a:lnTo>
                  <a:pt x="21600" y="4800"/>
                </a:lnTo>
                <a:close/>
                <a:moveTo>
                  <a:pt x="21600" y="20100"/>
                </a:moveTo>
                <a:cubicBezTo>
                  <a:pt x="21600" y="21600"/>
                  <a:pt x="21600" y="21600"/>
                  <a:pt x="21600" y="21600"/>
                </a:cubicBezTo>
                <a:cubicBezTo>
                  <a:pt x="0" y="21600"/>
                  <a:pt x="0" y="21600"/>
                  <a:pt x="0" y="21600"/>
                </a:cubicBezTo>
                <a:cubicBezTo>
                  <a:pt x="0" y="20100"/>
                  <a:pt x="0" y="20100"/>
                  <a:pt x="0" y="20100"/>
                </a:cubicBezTo>
                <a:cubicBezTo>
                  <a:pt x="0" y="19800"/>
                  <a:pt x="281" y="19500"/>
                  <a:pt x="842" y="19500"/>
                </a:cubicBezTo>
                <a:cubicBezTo>
                  <a:pt x="20758" y="19500"/>
                  <a:pt x="20758" y="19500"/>
                  <a:pt x="20758" y="19500"/>
                </a:cubicBezTo>
                <a:cubicBezTo>
                  <a:pt x="21319" y="19500"/>
                  <a:pt x="21600" y="19800"/>
                  <a:pt x="21600" y="20100"/>
                </a:cubicBezTo>
                <a:close/>
                <a:moveTo>
                  <a:pt x="5610" y="7800"/>
                </a:moveTo>
                <a:cubicBezTo>
                  <a:pt x="5610" y="17100"/>
                  <a:pt x="5610" y="17100"/>
                  <a:pt x="5610" y="17100"/>
                </a:cubicBezTo>
                <a:cubicBezTo>
                  <a:pt x="7013" y="17100"/>
                  <a:pt x="7013" y="17100"/>
                  <a:pt x="7013" y="17100"/>
                </a:cubicBezTo>
                <a:cubicBezTo>
                  <a:pt x="7013" y="7800"/>
                  <a:pt x="7013" y="7800"/>
                  <a:pt x="7013" y="7800"/>
                </a:cubicBezTo>
                <a:cubicBezTo>
                  <a:pt x="10099" y="7800"/>
                  <a:pt x="10099" y="7800"/>
                  <a:pt x="10099" y="7800"/>
                </a:cubicBezTo>
                <a:cubicBezTo>
                  <a:pt x="10099" y="17100"/>
                  <a:pt x="10099" y="17100"/>
                  <a:pt x="10099" y="17100"/>
                </a:cubicBezTo>
                <a:cubicBezTo>
                  <a:pt x="11501" y="17100"/>
                  <a:pt x="11501" y="17100"/>
                  <a:pt x="11501" y="17100"/>
                </a:cubicBezTo>
                <a:cubicBezTo>
                  <a:pt x="11501" y="7800"/>
                  <a:pt x="11501" y="7800"/>
                  <a:pt x="11501" y="7800"/>
                </a:cubicBezTo>
                <a:cubicBezTo>
                  <a:pt x="14306" y="7800"/>
                  <a:pt x="14306" y="7800"/>
                  <a:pt x="14306" y="7800"/>
                </a:cubicBezTo>
                <a:cubicBezTo>
                  <a:pt x="14306" y="17100"/>
                  <a:pt x="14306" y="17100"/>
                  <a:pt x="14306" y="17100"/>
                </a:cubicBezTo>
                <a:cubicBezTo>
                  <a:pt x="15709" y="17100"/>
                  <a:pt x="15709" y="17100"/>
                  <a:pt x="15709" y="17100"/>
                </a:cubicBezTo>
                <a:cubicBezTo>
                  <a:pt x="15709" y="7800"/>
                  <a:pt x="15709" y="7800"/>
                  <a:pt x="15709" y="7800"/>
                </a:cubicBezTo>
                <a:cubicBezTo>
                  <a:pt x="18795" y="7800"/>
                  <a:pt x="18795" y="7800"/>
                  <a:pt x="18795" y="7800"/>
                </a:cubicBezTo>
                <a:cubicBezTo>
                  <a:pt x="18795" y="17100"/>
                  <a:pt x="18795" y="17100"/>
                  <a:pt x="18795" y="17100"/>
                </a:cubicBezTo>
                <a:cubicBezTo>
                  <a:pt x="19356" y="17100"/>
                  <a:pt x="19356" y="17100"/>
                  <a:pt x="19356" y="17100"/>
                </a:cubicBezTo>
                <a:cubicBezTo>
                  <a:pt x="19636" y="17100"/>
                  <a:pt x="20197" y="17400"/>
                  <a:pt x="20197" y="17700"/>
                </a:cubicBezTo>
                <a:cubicBezTo>
                  <a:pt x="20197" y="18600"/>
                  <a:pt x="20197" y="18600"/>
                  <a:pt x="20197" y="18600"/>
                </a:cubicBezTo>
                <a:cubicBezTo>
                  <a:pt x="1403" y="18600"/>
                  <a:pt x="1403" y="18600"/>
                  <a:pt x="1403" y="18600"/>
                </a:cubicBezTo>
                <a:cubicBezTo>
                  <a:pt x="1403" y="17700"/>
                  <a:pt x="1403" y="17700"/>
                  <a:pt x="1403" y="17700"/>
                </a:cubicBezTo>
                <a:cubicBezTo>
                  <a:pt x="1403" y="17400"/>
                  <a:pt x="1683" y="17100"/>
                  <a:pt x="2244" y="17100"/>
                </a:cubicBezTo>
                <a:cubicBezTo>
                  <a:pt x="2805" y="17100"/>
                  <a:pt x="2805" y="17100"/>
                  <a:pt x="2805" y="17100"/>
                </a:cubicBezTo>
                <a:cubicBezTo>
                  <a:pt x="2805" y="7800"/>
                  <a:pt x="2805" y="7800"/>
                  <a:pt x="2805" y="7800"/>
                </a:cubicBezTo>
                <a:lnTo>
                  <a:pt x="5610" y="7800"/>
                </a:lnTo>
                <a:close/>
              </a:path>
            </a:pathLst>
          </a:custGeom>
          <a:solidFill>
            <a:srgbClr val="0F6FC6"/>
          </a:solidFill>
          <a:ln w="12700" cap="flat">
            <a:noFill/>
            <a:miter lim="400000"/>
          </a:ln>
          <a:effectLst/>
        </p:spPr>
        <p:txBody>
          <a:bodyPr wrap="square" lIns="45713" tIns="45713" rIns="45713" bIns="45713" numCol="1" anchor="t">
            <a:noAutofit/>
          </a:bodyPr>
          <a:lstStyle/>
          <a:p>
            <a:pPr defTabSz="457109">
              <a:defRPr sz="24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pPr>
            <a:endParaRPr sz="2400"/>
          </a:p>
        </p:txBody>
      </p:sp>
      <p:sp>
        <p:nvSpPr>
          <p:cNvPr id="81" name="Прямоугольник 80">
            <a:extLst>
              <a:ext uri="{FF2B5EF4-FFF2-40B4-BE49-F238E27FC236}">
                <a16:creationId xmlns:a16="http://schemas.microsoft.com/office/drawing/2014/main" id="{CECB8836-432B-42AA-9847-25F892C423EB}"/>
              </a:ext>
            </a:extLst>
          </p:cNvPr>
          <p:cNvSpPr/>
          <p:nvPr/>
        </p:nvSpPr>
        <p:spPr>
          <a:xfrm>
            <a:off x="5696422" y="2306198"/>
            <a:ext cx="4328429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2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ҚР ДСМ, </a:t>
            </a:r>
            <a:r>
              <a:rPr lang="ru-RU" sz="1200" b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ӘлМСҚ</a:t>
            </a:r>
            <a:r>
              <a:rPr lang="ru-RU" sz="12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, РЭДСО, ЖАО (МАЖ </a:t>
            </a:r>
            <a:r>
              <a:rPr lang="ru-RU" sz="1200" b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әзірлеушілері</a:t>
            </a:r>
            <a:r>
              <a:rPr lang="ru-RU" sz="12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)</a:t>
            </a:r>
            <a:endParaRPr lang="ru-RU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82" name="Равнобедренный треугольник 81">
            <a:extLst>
              <a:ext uri="{FF2B5EF4-FFF2-40B4-BE49-F238E27FC236}">
                <a16:creationId xmlns:a16="http://schemas.microsoft.com/office/drawing/2014/main" id="{2DBE0FE1-AFE1-4D4B-99F4-C7DCFD7B8BE0}"/>
              </a:ext>
            </a:extLst>
          </p:cNvPr>
          <p:cNvSpPr/>
          <p:nvPr/>
        </p:nvSpPr>
        <p:spPr>
          <a:xfrm rot="5400000">
            <a:off x="4419139" y="4029887"/>
            <a:ext cx="1325880" cy="228600"/>
          </a:xfrm>
          <a:prstGeom prst="triangle">
            <a:avLst/>
          </a:prstGeom>
          <a:solidFill>
            <a:srgbClr val="DEEB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4" name="Прямоугольник 33">
            <a:extLst>
              <a:ext uri="{FF2B5EF4-FFF2-40B4-BE49-F238E27FC236}">
                <a16:creationId xmlns:a16="http://schemas.microsoft.com/office/drawing/2014/main" id="{D2B0C2E9-F2A4-4C1F-8972-2A0B0844826F}"/>
              </a:ext>
            </a:extLst>
          </p:cNvPr>
          <p:cNvSpPr/>
          <p:nvPr/>
        </p:nvSpPr>
        <p:spPr>
          <a:xfrm>
            <a:off x="861364" y="3249810"/>
            <a:ext cx="4028992" cy="430887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spcAft>
                <a:spcPts val="1600"/>
              </a:spcAft>
              <a:buFont typeface="+mj-lt"/>
              <a:buAutoNum type="arabicPeriod"/>
            </a:pPr>
            <a:r>
              <a:rPr lang="ru-RU" sz="13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АЖ </a:t>
            </a:r>
            <a:r>
              <a:rPr lang="ru-RU" sz="1300" b="1" dirty="0" err="1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интерфейсінде</a:t>
            </a:r>
            <a:r>
              <a:rPr lang="ru-RU" sz="13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300" b="1" dirty="0" err="1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деректерді</a:t>
            </a:r>
            <a:r>
              <a:rPr lang="ru-RU" sz="13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300" b="1" dirty="0" err="1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енгізудің</a:t>
            </a:r>
            <a:r>
              <a:rPr lang="ru-RU" sz="13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300" b="1" dirty="0" err="1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өп</a:t>
            </a:r>
            <a:r>
              <a:rPr lang="ru-RU" sz="13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300" b="1" dirty="0" err="1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еңбекті</a:t>
            </a:r>
            <a:r>
              <a:rPr lang="ru-RU" sz="13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300" b="1" dirty="0" err="1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қажет</a:t>
            </a:r>
            <a:r>
              <a:rPr lang="ru-RU" sz="13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300" b="1" dirty="0" err="1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ететін</a:t>
            </a:r>
            <a:r>
              <a:rPr lang="ru-RU" sz="13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300" b="1" dirty="0" err="1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роцесм</a:t>
            </a:r>
            <a:r>
              <a:rPr lang="ru-RU" sz="13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.</a:t>
            </a:r>
          </a:p>
          <a:p>
            <a:pPr marL="342900" indent="-342900">
              <a:spcAft>
                <a:spcPts val="1600"/>
              </a:spcAft>
              <a:buFont typeface="+mj-lt"/>
              <a:buAutoNum type="arabicPeriod"/>
            </a:pPr>
            <a:r>
              <a:rPr lang="ru-RU" sz="1300" b="1" dirty="0" err="1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Дәрігердің</a:t>
            </a:r>
            <a:r>
              <a:rPr lang="ru-RU" sz="13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300" b="1" dirty="0" err="1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өзіне</a:t>
            </a:r>
            <a:r>
              <a:rPr lang="ru-RU" sz="13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300" b="1" dirty="0" err="1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ән</a:t>
            </a:r>
            <a:r>
              <a:rPr lang="ru-RU" sz="13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300" b="1" dirty="0" err="1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емес</a:t>
            </a:r>
            <a:r>
              <a:rPr lang="ru-RU" sz="13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300" b="1" dirty="0" err="1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індеттерді</a:t>
            </a:r>
            <a:r>
              <a:rPr lang="ru-RU" sz="13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300" b="1" dirty="0" err="1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рындауы</a:t>
            </a:r>
            <a:r>
              <a:rPr lang="ru-RU" sz="13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(</a:t>
            </a:r>
            <a:r>
              <a:rPr lang="ru-RU" sz="1300" b="1" dirty="0" err="1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барлық</a:t>
            </a:r>
            <a:r>
              <a:rPr lang="ru-RU" sz="13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300" b="1" dirty="0" err="1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бағыттарды</a:t>
            </a:r>
            <a:r>
              <a:rPr lang="ru-RU" sz="13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, </a:t>
            </a:r>
            <a:r>
              <a:rPr lang="ru-RU" sz="1300" b="1" dirty="0" err="1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өрсетілетін</a:t>
            </a:r>
            <a:r>
              <a:rPr lang="ru-RU" sz="13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300" b="1" dirty="0" err="1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қызметтерді</a:t>
            </a:r>
            <a:r>
              <a:rPr lang="ru-RU" sz="13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, </a:t>
            </a:r>
            <a:r>
              <a:rPr lang="ru-RU" sz="1300" b="1" dirty="0" err="1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диагноздарды</a:t>
            </a:r>
            <a:r>
              <a:rPr lang="ru-RU" sz="13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№ 626 </a:t>
            </a:r>
            <a:r>
              <a:rPr lang="ru-RU" sz="1300" b="1" dirty="0" err="1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бұйрыққа</a:t>
            </a:r>
            <a:r>
              <a:rPr lang="ru-RU" sz="13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(ТМККК,МӘМС) </a:t>
            </a:r>
            <a:r>
              <a:rPr lang="ru-RU" sz="1300" b="1" dirty="0" err="1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байланыстыруды</a:t>
            </a:r>
            <a:r>
              <a:rPr lang="ru-RU" sz="13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300" b="1" dirty="0" err="1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ескере</a:t>
            </a:r>
            <a:r>
              <a:rPr lang="ru-RU" sz="13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300" b="1" dirty="0" err="1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тырып</a:t>
            </a:r>
            <a:r>
              <a:rPr lang="ru-RU" sz="13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, </a:t>
            </a:r>
            <a:r>
              <a:rPr lang="ru-RU" sz="1300" b="1" dirty="0" err="1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өрсетілетін</a:t>
            </a:r>
            <a:r>
              <a:rPr lang="ru-RU" sz="13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300" b="1" dirty="0" err="1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қызметтер</a:t>
            </a:r>
            <a:r>
              <a:rPr lang="ru-RU" sz="13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300" b="1" dirty="0" err="1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диагнозын</a:t>
            </a:r>
            <a:r>
              <a:rPr lang="ru-RU" sz="13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300" b="1" dirty="0" err="1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аңдау</a:t>
            </a:r>
            <a:r>
              <a:rPr lang="ru-RU" sz="13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).</a:t>
            </a:r>
          </a:p>
          <a:p>
            <a:pPr marL="342900" indent="-342900">
              <a:spcAft>
                <a:spcPts val="1600"/>
              </a:spcAft>
              <a:buFont typeface="+mj-lt"/>
              <a:buAutoNum type="arabicPeriod"/>
            </a:pPr>
            <a:r>
              <a:rPr lang="ru-RU" sz="1300" b="1" dirty="0" err="1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Барлық</a:t>
            </a:r>
            <a:r>
              <a:rPr lang="ru-RU" sz="13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300" b="1" dirty="0" err="1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ысандар</a:t>
            </a:r>
            <a:r>
              <a:rPr lang="ru-RU" sz="13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ҚР ДСМ 2020 </a:t>
            </a:r>
            <a:r>
              <a:rPr lang="ru-RU" sz="1300" b="1" dirty="0" err="1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ылғы</a:t>
            </a:r>
            <a:r>
              <a:rPr lang="ru-RU" sz="13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30 </a:t>
            </a:r>
            <a:r>
              <a:rPr lang="ru-RU" sz="1300" b="1" dirty="0" err="1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қазандағы</a:t>
            </a:r>
            <a:r>
              <a:rPr lang="ru-RU" sz="13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№ ҚР ДСМ-175/2020 </a:t>
            </a:r>
            <a:r>
              <a:rPr lang="ru-RU" sz="1300" b="1" dirty="0" err="1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бұйрығына</a:t>
            </a:r>
            <a:r>
              <a:rPr lang="ru-RU" sz="13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300" b="1" dirty="0" err="1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әйкес</a:t>
            </a:r>
            <a:r>
              <a:rPr lang="ru-RU" sz="13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МАЖ-да </a:t>
            </a:r>
            <a:r>
              <a:rPr lang="ru-RU" sz="1300" b="1" dirty="0" err="1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іске</a:t>
            </a:r>
            <a:r>
              <a:rPr lang="ru-RU" sz="13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300" b="1" dirty="0" err="1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асырылмаған</a:t>
            </a:r>
            <a:r>
              <a:rPr lang="ru-RU" sz="13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.</a:t>
            </a:r>
          </a:p>
          <a:p>
            <a:pPr marL="342900" indent="-342900">
              <a:spcAft>
                <a:spcPts val="1600"/>
              </a:spcAft>
              <a:buFont typeface="+mj-lt"/>
              <a:buAutoNum type="arabicPeriod"/>
            </a:pPr>
            <a:r>
              <a:rPr lang="ru-RU" sz="13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ҚР ДСМ </a:t>
            </a:r>
            <a:r>
              <a:rPr lang="ru-RU" sz="1300" b="1" dirty="0" err="1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ейбір</a:t>
            </a:r>
            <a:r>
              <a:rPr lang="ru-RU" sz="13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АЖ-</a:t>
            </a:r>
            <a:r>
              <a:rPr lang="ru-RU" sz="1300" b="1" dirty="0" err="1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ларының</a:t>
            </a:r>
            <a:r>
              <a:rPr lang="ru-RU" sz="13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МАЖ-бен </a:t>
            </a:r>
            <a:r>
              <a:rPr lang="ru-RU" sz="1300" b="1" dirty="0" err="1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ықпалдастырудың</a:t>
            </a:r>
            <a:r>
              <a:rPr lang="ru-RU" sz="13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300" b="1" dirty="0" err="1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болмауына</a:t>
            </a:r>
            <a:r>
              <a:rPr lang="ru-RU" sz="13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300" b="1" dirty="0" err="1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байланысты</a:t>
            </a:r>
            <a:r>
              <a:rPr lang="ru-RU" sz="13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300" b="1" dirty="0" err="1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бірнеше</a:t>
            </a:r>
            <a:r>
              <a:rPr lang="ru-RU" sz="13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300" b="1" dirty="0" err="1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үйеде</a:t>
            </a:r>
            <a:r>
              <a:rPr lang="ru-RU" sz="13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300" b="1" dirty="0" err="1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ұмыс</a:t>
            </a:r>
            <a:r>
              <a:rPr lang="ru-RU" sz="13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300" b="1" dirty="0" err="1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істеу</a:t>
            </a:r>
            <a:r>
              <a:rPr lang="ru-RU" sz="13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300" b="1" dirty="0" err="1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қажеттілігі</a:t>
            </a:r>
            <a:r>
              <a:rPr lang="ru-RU" sz="13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.</a:t>
            </a:r>
          </a:p>
        </p:txBody>
      </p:sp>
      <p:sp>
        <p:nvSpPr>
          <p:cNvPr id="35" name="Прямоугольник 34">
            <a:extLst>
              <a:ext uri="{FF2B5EF4-FFF2-40B4-BE49-F238E27FC236}">
                <a16:creationId xmlns:a16="http://schemas.microsoft.com/office/drawing/2014/main" id="{18BB8C35-7086-4C63-B939-DD04306EF61E}"/>
              </a:ext>
            </a:extLst>
          </p:cNvPr>
          <p:cNvSpPr/>
          <p:nvPr/>
        </p:nvSpPr>
        <p:spPr>
          <a:xfrm>
            <a:off x="5462470" y="3392228"/>
            <a:ext cx="4995215" cy="22416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1000"/>
              </a:spcAft>
            </a:pPr>
            <a:r>
              <a:rPr lang="ru-RU" sz="1400" dirty="0" err="1">
                <a:solidFill>
                  <a:schemeClr val="tx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Ақпараттық</a:t>
            </a:r>
            <a:r>
              <a:rPr lang="ru-RU" sz="1400" dirty="0">
                <a:solidFill>
                  <a:schemeClr val="tx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solidFill>
                  <a:schemeClr val="tx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үйелерге</a:t>
            </a:r>
            <a:r>
              <a:rPr lang="ru-RU" sz="1400" dirty="0">
                <a:solidFill>
                  <a:schemeClr val="tx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solidFill>
                  <a:schemeClr val="tx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деректерді</a:t>
            </a:r>
            <a:r>
              <a:rPr lang="ru-RU" sz="1400" dirty="0">
                <a:solidFill>
                  <a:schemeClr val="tx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solidFill>
                  <a:schemeClr val="tx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енгізуді</a:t>
            </a:r>
            <a:r>
              <a:rPr lang="ru-RU" sz="1400" dirty="0">
                <a:solidFill>
                  <a:schemeClr val="tx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solidFill>
                  <a:schemeClr val="tx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еңілдету</a:t>
            </a:r>
            <a:r>
              <a:rPr lang="ru-RU" sz="1400" dirty="0">
                <a:solidFill>
                  <a:schemeClr val="tx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.</a:t>
            </a:r>
          </a:p>
          <a:p>
            <a:pPr>
              <a:spcAft>
                <a:spcPts val="1000"/>
              </a:spcAft>
            </a:pPr>
            <a:r>
              <a:rPr lang="ru-RU" sz="1400" dirty="0">
                <a:solidFill>
                  <a:schemeClr val="tx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ҚА-</a:t>
            </a:r>
            <a:r>
              <a:rPr lang="ru-RU" sz="1400" dirty="0" err="1">
                <a:solidFill>
                  <a:schemeClr val="tx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ы</a:t>
            </a:r>
            <a:r>
              <a:rPr lang="ru-RU" sz="1400" dirty="0">
                <a:solidFill>
                  <a:schemeClr val="tx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solidFill>
                  <a:schemeClr val="tx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қажетті</a:t>
            </a:r>
            <a:r>
              <a:rPr lang="ru-RU" sz="1400" dirty="0">
                <a:solidFill>
                  <a:schemeClr val="tx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solidFill>
                  <a:schemeClr val="tx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деректер</a:t>
            </a:r>
            <a:r>
              <a:rPr lang="ru-RU" sz="1400" dirty="0">
                <a:solidFill>
                  <a:schemeClr val="tx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solidFill>
                  <a:schemeClr val="tx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ұрғысынан</a:t>
            </a:r>
            <a:r>
              <a:rPr lang="ru-RU" sz="1400" dirty="0">
                <a:solidFill>
                  <a:schemeClr val="tx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solidFill>
                  <a:schemeClr val="tx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қайта</a:t>
            </a:r>
            <a:r>
              <a:rPr lang="ru-RU" sz="1400" dirty="0">
                <a:solidFill>
                  <a:schemeClr val="tx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solidFill>
                  <a:schemeClr val="tx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қарау</a:t>
            </a:r>
            <a:r>
              <a:rPr lang="ru-RU" sz="1400" dirty="0">
                <a:solidFill>
                  <a:schemeClr val="tx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.</a:t>
            </a:r>
          </a:p>
          <a:p>
            <a:pPr>
              <a:spcAft>
                <a:spcPts val="1000"/>
              </a:spcAft>
            </a:pPr>
            <a:r>
              <a:rPr lang="ru-RU" sz="1400" dirty="0" err="1">
                <a:solidFill>
                  <a:schemeClr val="tx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Денсаулық</a:t>
            </a:r>
            <a:r>
              <a:rPr lang="ru-RU" sz="1400" dirty="0">
                <a:solidFill>
                  <a:schemeClr val="tx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solidFill>
                  <a:schemeClr val="tx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ақтау</a:t>
            </a:r>
            <a:r>
              <a:rPr lang="ru-RU" sz="1400" dirty="0">
                <a:solidFill>
                  <a:schemeClr val="tx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бизнес </a:t>
            </a:r>
            <a:r>
              <a:rPr lang="ru-RU" sz="1400" dirty="0" err="1">
                <a:solidFill>
                  <a:schemeClr val="tx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роцестерін</a:t>
            </a:r>
            <a:r>
              <a:rPr lang="ru-RU" sz="1400" dirty="0">
                <a:solidFill>
                  <a:schemeClr val="tx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solidFill>
                  <a:schemeClr val="tx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ңтайландыру</a:t>
            </a:r>
            <a:r>
              <a:rPr lang="ru-RU" sz="1400" dirty="0">
                <a:solidFill>
                  <a:schemeClr val="tx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.</a:t>
            </a:r>
          </a:p>
          <a:p>
            <a:pPr>
              <a:spcAft>
                <a:spcPts val="1000"/>
              </a:spcAft>
            </a:pPr>
            <a:r>
              <a:rPr lang="ru-RU" sz="1400" dirty="0">
                <a:solidFill>
                  <a:schemeClr val="tx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ҚР ДСМ АЖ, МАЖ </a:t>
            </a:r>
            <a:r>
              <a:rPr lang="ru-RU" sz="1400" dirty="0" err="1">
                <a:solidFill>
                  <a:schemeClr val="tx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интеграциялық</a:t>
            </a:r>
            <a:r>
              <a:rPr lang="ru-RU" sz="1400" dirty="0">
                <a:solidFill>
                  <a:schemeClr val="tx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solidFill>
                  <a:schemeClr val="tx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ұмыстарын</a:t>
            </a:r>
            <a:r>
              <a:rPr lang="ru-RU" sz="1400" dirty="0">
                <a:solidFill>
                  <a:schemeClr val="tx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solidFill>
                  <a:schemeClr val="tx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үргізу</a:t>
            </a:r>
            <a:r>
              <a:rPr lang="ru-RU" sz="1400" dirty="0">
                <a:solidFill>
                  <a:schemeClr val="tx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.</a:t>
            </a:r>
          </a:p>
          <a:p>
            <a:pPr>
              <a:spcAft>
                <a:spcPts val="1000"/>
              </a:spcAft>
            </a:pPr>
            <a:r>
              <a:rPr lang="ru-RU" sz="1400" dirty="0">
                <a:solidFill>
                  <a:schemeClr val="tx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ҚР ДСМ АЖ, МАЖ </a:t>
            </a:r>
            <a:r>
              <a:rPr lang="ru-RU" sz="1400" dirty="0" err="1">
                <a:solidFill>
                  <a:schemeClr val="tx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одификациясы</a:t>
            </a:r>
            <a:r>
              <a:rPr lang="ru-RU" sz="1400" dirty="0">
                <a:solidFill>
                  <a:schemeClr val="tx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.</a:t>
            </a:r>
          </a:p>
          <a:p>
            <a:pPr>
              <a:spcAft>
                <a:spcPts val="1000"/>
              </a:spcAft>
            </a:pPr>
            <a:r>
              <a:rPr lang="ru-RU" sz="1400" dirty="0" err="1">
                <a:solidFill>
                  <a:schemeClr val="tx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Электрондық</a:t>
            </a:r>
            <a:r>
              <a:rPr lang="ru-RU" sz="1400" dirty="0">
                <a:solidFill>
                  <a:schemeClr val="tx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solidFill>
                  <a:schemeClr val="tx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денсаулық</a:t>
            </a:r>
            <a:r>
              <a:rPr lang="ru-RU" sz="1400" dirty="0">
                <a:solidFill>
                  <a:schemeClr val="tx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solidFill>
                  <a:schemeClr val="tx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ақтаудың</a:t>
            </a:r>
            <a:r>
              <a:rPr lang="ru-RU" sz="1400" dirty="0">
                <a:solidFill>
                  <a:schemeClr val="tx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solidFill>
                  <a:schemeClr val="tx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аңа</a:t>
            </a:r>
            <a:r>
              <a:rPr lang="ru-RU" sz="1400" dirty="0">
                <a:solidFill>
                  <a:schemeClr val="tx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solidFill>
                  <a:schemeClr val="tx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архитектурасына</a:t>
            </a:r>
            <a:r>
              <a:rPr lang="ru-RU" sz="1400" dirty="0">
                <a:solidFill>
                  <a:schemeClr val="tx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solidFill>
                  <a:schemeClr val="tx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өшіру</a:t>
            </a:r>
            <a:r>
              <a:rPr lang="ru-RU" sz="1400" dirty="0">
                <a:solidFill>
                  <a:schemeClr val="tx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.</a:t>
            </a:r>
          </a:p>
        </p:txBody>
      </p:sp>
      <p:sp>
        <p:nvSpPr>
          <p:cNvPr id="48" name="Прямоугольник 47">
            <a:extLst>
              <a:ext uri="{FF2B5EF4-FFF2-40B4-BE49-F238E27FC236}">
                <a16:creationId xmlns:a16="http://schemas.microsoft.com/office/drawing/2014/main" id="{588DB5FA-8206-431E-A864-1920B8BF41A7}"/>
              </a:ext>
            </a:extLst>
          </p:cNvPr>
          <p:cNvSpPr/>
          <p:nvPr/>
        </p:nvSpPr>
        <p:spPr>
          <a:xfrm>
            <a:off x="5663255" y="2565489"/>
            <a:ext cx="1749197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200" b="1" dirty="0" err="1">
                <a:solidFill>
                  <a:srgbClr val="0F6FC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ерзімі</a:t>
            </a:r>
            <a:r>
              <a:rPr lang="ru-RU" sz="1200" b="1" dirty="0">
                <a:solidFill>
                  <a:srgbClr val="0F6FC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: 2021-2022</a:t>
            </a:r>
            <a:endParaRPr lang="ru-RU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9" name="Прямоугольник 48">
            <a:extLst>
              <a:ext uri="{FF2B5EF4-FFF2-40B4-BE49-F238E27FC236}">
                <a16:creationId xmlns:a16="http://schemas.microsoft.com/office/drawing/2014/main" id="{588DB5FA-8206-431E-A864-1920B8BF41A7}"/>
              </a:ext>
            </a:extLst>
          </p:cNvPr>
          <p:cNvSpPr/>
          <p:nvPr/>
        </p:nvSpPr>
        <p:spPr>
          <a:xfrm>
            <a:off x="5892462" y="6247881"/>
            <a:ext cx="1749197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200" b="1" dirty="0" err="1">
                <a:solidFill>
                  <a:srgbClr val="0F6FC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ерзімі</a:t>
            </a:r>
            <a:r>
              <a:rPr lang="ru-RU" sz="1200" b="1" dirty="0">
                <a:solidFill>
                  <a:srgbClr val="0F6FC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: </a:t>
            </a:r>
            <a:r>
              <a:rPr lang="en-US" sz="1200" b="1" dirty="0">
                <a:solidFill>
                  <a:srgbClr val="0F6FC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021-2022</a:t>
            </a:r>
            <a:endParaRPr lang="ru-RU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cxnSp>
        <p:nvCxnSpPr>
          <p:cNvPr id="55" name="Прямая соединительная линия 54">
            <a:extLst>
              <a:ext uri="{FF2B5EF4-FFF2-40B4-BE49-F238E27FC236}">
                <a16:creationId xmlns:a16="http://schemas.microsoft.com/office/drawing/2014/main" id="{E3AF6081-F616-4A92-A881-90BCE3E0856B}"/>
              </a:ext>
            </a:extLst>
          </p:cNvPr>
          <p:cNvCxnSpPr>
            <a:cxnSpLocks/>
          </p:cNvCxnSpPr>
          <p:nvPr/>
        </p:nvCxnSpPr>
        <p:spPr>
          <a:xfrm>
            <a:off x="420978" y="717918"/>
            <a:ext cx="9616853" cy="0"/>
          </a:xfrm>
          <a:prstGeom prst="line">
            <a:avLst/>
          </a:prstGeom>
          <a:ln w="25400">
            <a:solidFill>
              <a:schemeClr val="bg1">
                <a:lumMod val="85000"/>
              </a:schemeClr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7940672" y="6959566"/>
            <a:ext cx="2429947" cy="402483"/>
          </a:xfrm>
        </p:spPr>
        <p:txBody>
          <a:bodyPr/>
          <a:lstStyle/>
          <a:p>
            <a:r>
              <a:rPr lang="ru-RU" dirty="0"/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102603291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3" name="Группа 42">
            <a:extLst>
              <a:ext uri="{FF2B5EF4-FFF2-40B4-BE49-F238E27FC236}">
                <a16:creationId xmlns:a16="http://schemas.microsoft.com/office/drawing/2014/main" id="{D1DAEC1D-CEB9-4EA8-B0AD-3FE73412D28C}"/>
              </a:ext>
            </a:extLst>
          </p:cNvPr>
          <p:cNvGrpSpPr/>
          <p:nvPr/>
        </p:nvGrpSpPr>
        <p:grpSpPr>
          <a:xfrm>
            <a:off x="470393" y="1787118"/>
            <a:ext cx="523493" cy="430440"/>
            <a:chOff x="490713" y="1378040"/>
            <a:chExt cx="523493" cy="430440"/>
          </a:xfrm>
        </p:grpSpPr>
        <p:grpSp>
          <p:nvGrpSpPr>
            <p:cNvPr id="44" name="Группа 43">
              <a:extLst>
                <a:ext uri="{FF2B5EF4-FFF2-40B4-BE49-F238E27FC236}">
                  <a16:creationId xmlns:a16="http://schemas.microsoft.com/office/drawing/2014/main" id="{7D497AE2-DF3E-4760-91AF-83C70B2ACC86}"/>
                </a:ext>
              </a:extLst>
            </p:cNvPr>
            <p:cNvGrpSpPr/>
            <p:nvPr/>
          </p:nvGrpSpPr>
          <p:grpSpPr>
            <a:xfrm>
              <a:off x="490713" y="1392210"/>
              <a:ext cx="523493" cy="416270"/>
              <a:chOff x="622705" y="1899098"/>
              <a:chExt cx="1736162" cy="1380560"/>
            </a:xfrm>
          </p:grpSpPr>
          <p:sp>
            <p:nvSpPr>
              <p:cNvPr id="46" name="Rounded Rectangle 46">
                <a:extLst>
                  <a:ext uri="{FF2B5EF4-FFF2-40B4-BE49-F238E27FC236}">
                    <a16:creationId xmlns:a16="http://schemas.microsoft.com/office/drawing/2014/main" id="{18CEBBA4-14B2-4BFD-B12B-2163D1EF5AA6}"/>
                  </a:ext>
                </a:extLst>
              </p:cNvPr>
              <p:cNvSpPr/>
              <p:nvPr/>
            </p:nvSpPr>
            <p:spPr>
              <a:xfrm rot="18900000">
                <a:off x="964360" y="1899098"/>
                <a:ext cx="1394507" cy="1380560"/>
              </a:xfrm>
              <a:prstGeom prst="roundRect">
                <a:avLst/>
              </a:prstGeom>
              <a:solidFill>
                <a:srgbClr val="F4F4F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47" name="Rounded Rectangle 46">
                <a:extLst>
                  <a:ext uri="{FF2B5EF4-FFF2-40B4-BE49-F238E27FC236}">
                    <a16:creationId xmlns:a16="http://schemas.microsoft.com/office/drawing/2014/main" id="{DB86FE3C-F879-464B-BEE0-6A4FD9ED8A4B}"/>
                  </a:ext>
                </a:extLst>
              </p:cNvPr>
              <p:cNvSpPr/>
              <p:nvPr/>
            </p:nvSpPr>
            <p:spPr>
              <a:xfrm rot="18900000">
                <a:off x="622705" y="1899098"/>
                <a:ext cx="1394507" cy="1380560"/>
              </a:xfrm>
              <a:prstGeom prst="roundRect">
                <a:avLst/>
              </a:prstGeom>
              <a:gradFill>
                <a:gsLst>
                  <a:gs pos="0">
                    <a:srgbClr val="0F6FC6"/>
                  </a:gs>
                  <a:gs pos="100000">
                    <a:srgbClr val="0BD0D9"/>
                  </a:gs>
                  <a:gs pos="57000">
                    <a:srgbClr val="019DD8"/>
                  </a:gs>
                </a:gsLst>
                <a:lin ang="4800000" scaled="0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47244319-3D90-4627-9F8D-4E2FF2A69A60}"/>
                </a:ext>
              </a:extLst>
            </p:cNvPr>
            <p:cNvSpPr txBox="1"/>
            <p:nvPr/>
          </p:nvSpPr>
          <p:spPr>
            <a:xfrm>
              <a:off x="508133" y="1378040"/>
              <a:ext cx="348172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ru-RU" sz="2000" b="1" dirty="0">
                  <a:solidFill>
                    <a:schemeClr val="bg1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3</a:t>
              </a:r>
            </a:p>
          </p:txBody>
        </p:sp>
      </p:grpSp>
      <p:cxnSp>
        <p:nvCxnSpPr>
          <p:cNvPr id="41" name="Прямая соединительная линия 40">
            <a:extLst>
              <a:ext uri="{FF2B5EF4-FFF2-40B4-BE49-F238E27FC236}">
                <a16:creationId xmlns:a16="http://schemas.microsoft.com/office/drawing/2014/main" id="{975A6D91-7FF0-4811-9C20-7836736FD667}"/>
              </a:ext>
            </a:extLst>
          </p:cNvPr>
          <p:cNvCxnSpPr>
            <a:cxnSpLocks/>
          </p:cNvCxnSpPr>
          <p:nvPr/>
        </p:nvCxnSpPr>
        <p:spPr>
          <a:xfrm flipH="1">
            <a:off x="409031" y="2913649"/>
            <a:ext cx="10067651" cy="1"/>
          </a:xfrm>
          <a:prstGeom prst="line">
            <a:avLst/>
          </a:prstGeom>
          <a:ln w="25400">
            <a:solidFill>
              <a:schemeClr val="bg1">
                <a:lumMod val="85000"/>
              </a:schemeClr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Заголовок 1">
            <a:extLst>
              <a:ext uri="{FF2B5EF4-FFF2-40B4-BE49-F238E27FC236}">
                <a16:creationId xmlns:a16="http://schemas.microsoft.com/office/drawing/2014/main" id="{691F4BE4-22EB-4BEA-BF08-76CFCDFD5844}"/>
              </a:ext>
            </a:extLst>
          </p:cNvPr>
          <p:cNvSpPr txBox="1">
            <a:spLocks/>
          </p:cNvSpPr>
          <p:nvPr/>
        </p:nvSpPr>
        <p:spPr>
          <a:xfrm>
            <a:off x="485344" y="383921"/>
            <a:ext cx="8640105" cy="405187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100794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5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kk-KZ" sz="16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ЕДИЦИНАЛЫҚ КӨРСЕТІЛЕТІН ҚЫЗМЕТТЕРГЕ АҚЫ ТӨЛЕУ МӘСЕЛЕЛЕРІ</a:t>
            </a:r>
            <a:endParaRPr lang="ru-RU" sz="2800" b="1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0" name="Прямоугольник 19">
            <a:extLst>
              <a:ext uri="{FF2B5EF4-FFF2-40B4-BE49-F238E27FC236}">
                <a16:creationId xmlns:a16="http://schemas.microsoft.com/office/drawing/2014/main" id="{86BB1215-522E-4DCC-AE61-51573EF744BA}"/>
              </a:ext>
            </a:extLst>
          </p:cNvPr>
          <p:cNvSpPr/>
          <p:nvPr/>
        </p:nvSpPr>
        <p:spPr>
          <a:xfrm>
            <a:off x="1110269" y="1652245"/>
            <a:ext cx="433258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1000"/>
              </a:spcAft>
            </a:pPr>
            <a:r>
              <a:rPr lang="ru-RU" sz="14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САК </a:t>
            </a:r>
            <a:r>
              <a:rPr lang="ru-RU" sz="1400" b="1" dirty="0" err="1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деңгейінде</a:t>
            </a:r>
            <a:r>
              <a:rPr lang="ru-RU" sz="14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b="1" dirty="0" err="1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амандар</a:t>
            </a:r>
            <a:r>
              <a:rPr lang="ru-RU" sz="14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b="1" dirty="0" err="1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өрсететін</a:t>
            </a:r>
            <a:r>
              <a:rPr lang="ru-RU" sz="14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b="1" dirty="0" err="1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қызметтердің</a:t>
            </a:r>
            <a:r>
              <a:rPr lang="ru-RU" sz="14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b="1" dirty="0" err="1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бір</a:t>
            </a:r>
            <a:r>
              <a:rPr lang="ru-RU" sz="14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b="1" dirty="0" err="1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бөлігі</a:t>
            </a:r>
            <a:r>
              <a:rPr lang="ru-RU" sz="14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b="1" dirty="0" err="1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арификаторда</a:t>
            </a:r>
            <a:r>
              <a:rPr lang="ru-RU" sz="14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b="1" dirty="0" err="1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оқ</a:t>
            </a:r>
            <a:r>
              <a:rPr lang="ru-RU" sz="14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b="1" dirty="0" err="1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әне</a:t>
            </a:r>
            <a:r>
              <a:rPr lang="ru-RU" sz="14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b="1" dirty="0" err="1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ларды</a:t>
            </a:r>
            <a:r>
              <a:rPr lang="ru-RU" sz="14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b="1" dirty="0" err="1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бағалау</a:t>
            </a:r>
            <a:r>
              <a:rPr lang="ru-RU" sz="14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b="1" dirty="0" err="1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үмкін</a:t>
            </a:r>
            <a:r>
              <a:rPr lang="ru-RU" sz="14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b="1" dirty="0" err="1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емес</a:t>
            </a:r>
            <a:r>
              <a:rPr lang="ru-RU" sz="14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:</a:t>
            </a:r>
          </a:p>
        </p:txBody>
      </p:sp>
      <p:sp>
        <p:nvSpPr>
          <p:cNvPr id="24" name="Прямоугольник 23">
            <a:extLst>
              <a:ext uri="{FF2B5EF4-FFF2-40B4-BE49-F238E27FC236}">
                <a16:creationId xmlns:a16="http://schemas.microsoft.com/office/drawing/2014/main" id="{0D96F7DB-7E28-4180-9F5E-BF76C7AF79A7}"/>
              </a:ext>
            </a:extLst>
          </p:cNvPr>
          <p:cNvSpPr/>
          <p:nvPr/>
        </p:nvSpPr>
        <p:spPr>
          <a:xfrm>
            <a:off x="6093021" y="1525508"/>
            <a:ext cx="3290298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chemeClr val="tx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едициналық </a:t>
            </a:r>
            <a:r>
              <a:rPr lang="ru-RU" sz="1400" dirty="0" err="1">
                <a:solidFill>
                  <a:schemeClr val="tx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өрсетілетінқызметтер</a:t>
            </a:r>
            <a:r>
              <a:rPr lang="ru-RU" sz="1400" dirty="0">
                <a:solidFill>
                  <a:schemeClr val="tx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solidFill>
                  <a:schemeClr val="tx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арификаторын</a:t>
            </a:r>
            <a:r>
              <a:rPr lang="ru-RU" sz="1400" dirty="0">
                <a:solidFill>
                  <a:schemeClr val="tx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solidFill>
                  <a:schemeClr val="tx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қайта</a:t>
            </a:r>
            <a:r>
              <a:rPr lang="ru-RU" sz="1400" dirty="0">
                <a:solidFill>
                  <a:schemeClr val="tx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solidFill>
                  <a:schemeClr val="tx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қарау</a:t>
            </a:r>
            <a:endParaRPr lang="ru-RU" sz="1400" dirty="0">
              <a:solidFill>
                <a:schemeClr val="tx2">
                  <a:lumMod val="75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88" name="Прямоугольник 87">
            <a:extLst>
              <a:ext uri="{FF2B5EF4-FFF2-40B4-BE49-F238E27FC236}">
                <a16:creationId xmlns:a16="http://schemas.microsoft.com/office/drawing/2014/main" id="{2D9BBE2E-70E9-4A1D-AAB3-8D19A352F76E}"/>
              </a:ext>
            </a:extLst>
          </p:cNvPr>
          <p:cNvSpPr/>
          <p:nvPr/>
        </p:nvSpPr>
        <p:spPr>
          <a:xfrm>
            <a:off x="6354756" y="2121220"/>
            <a:ext cx="1269899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200" b="1" dirty="0" err="1">
                <a:solidFill>
                  <a:srgbClr val="0F6FC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ауаптылар</a:t>
            </a:r>
            <a:r>
              <a:rPr lang="ru-RU" sz="1200" b="1" dirty="0">
                <a:solidFill>
                  <a:srgbClr val="0F6FC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:</a:t>
            </a:r>
            <a:endParaRPr lang="ru-RU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89" name="Shape 5654">
            <a:extLst>
              <a:ext uri="{FF2B5EF4-FFF2-40B4-BE49-F238E27FC236}">
                <a16:creationId xmlns:a16="http://schemas.microsoft.com/office/drawing/2014/main" id="{7B2B48AB-4AD9-4D5A-BA39-90ED3A039854}"/>
              </a:ext>
            </a:extLst>
          </p:cNvPr>
          <p:cNvSpPr/>
          <p:nvPr/>
        </p:nvSpPr>
        <p:spPr>
          <a:xfrm>
            <a:off x="6093021" y="2137041"/>
            <a:ext cx="204152" cy="19070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4800"/>
                </a:moveTo>
                <a:cubicBezTo>
                  <a:pt x="21600" y="6300"/>
                  <a:pt x="21600" y="6300"/>
                  <a:pt x="21600" y="6300"/>
                </a:cubicBezTo>
                <a:cubicBezTo>
                  <a:pt x="20197" y="6300"/>
                  <a:pt x="20197" y="6300"/>
                  <a:pt x="20197" y="6300"/>
                </a:cubicBezTo>
                <a:cubicBezTo>
                  <a:pt x="20197" y="6600"/>
                  <a:pt x="19636" y="6900"/>
                  <a:pt x="19356" y="6900"/>
                </a:cubicBezTo>
                <a:cubicBezTo>
                  <a:pt x="2244" y="6900"/>
                  <a:pt x="2244" y="6900"/>
                  <a:pt x="2244" y="6900"/>
                </a:cubicBezTo>
                <a:cubicBezTo>
                  <a:pt x="1683" y="6900"/>
                  <a:pt x="1403" y="6600"/>
                  <a:pt x="1403" y="6300"/>
                </a:cubicBezTo>
                <a:cubicBezTo>
                  <a:pt x="0" y="6300"/>
                  <a:pt x="0" y="6300"/>
                  <a:pt x="0" y="6300"/>
                </a:cubicBezTo>
                <a:cubicBezTo>
                  <a:pt x="0" y="4800"/>
                  <a:pt x="0" y="4800"/>
                  <a:pt x="0" y="4800"/>
                </a:cubicBezTo>
                <a:cubicBezTo>
                  <a:pt x="10660" y="0"/>
                  <a:pt x="10660" y="0"/>
                  <a:pt x="10660" y="0"/>
                </a:cubicBezTo>
                <a:lnTo>
                  <a:pt x="21600" y="4800"/>
                </a:lnTo>
                <a:close/>
                <a:moveTo>
                  <a:pt x="21600" y="20100"/>
                </a:moveTo>
                <a:cubicBezTo>
                  <a:pt x="21600" y="21600"/>
                  <a:pt x="21600" y="21600"/>
                  <a:pt x="21600" y="21600"/>
                </a:cubicBezTo>
                <a:cubicBezTo>
                  <a:pt x="0" y="21600"/>
                  <a:pt x="0" y="21600"/>
                  <a:pt x="0" y="21600"/>
                </a:cubicBezTo>
                <a:cubicBezTo>
                  <a:pt x="0" y="20100"/>
                  <a:pt x="0" y="20100"/>
                  <a:pt x="0" y="20100"/>
                </a:cubicBezTo>
                <a:cubicBezTo>
                  <a:pt x="0" y="19800"/>
                  <a:pt x="281" y="19500"/>
                  <a:pt x="842" y="19500"/>
                </a:cubicBezTo>
                <a:cubicBezTo>
                  <a:pt x="20758" y="19500"/>
                  <a:pt x="20758" y="19500"/>
                  <a:pt x="20758" y="19500"/>
                </a:cubicBezTo>
                <a:cubicBezTo>
                  <a:pt x="21319" y="19500"/>
                  <a:pt x="21600" y="19800"/>
                  <a:pt x="21600" y="20100"/>
                </a:cubicBezTo>
                <a:close/>
                <a:moveTo>
                  <a:pt x="5610" y="7800"/>
                </a:moveTo>
                <a:cubicBezTo>
                  <a:pt x="5610" y="17100"/>
                  <a:pt x="5610" y="17100"/>
                  <a:pt x="5610" y="17100"/>
                </a:cubicBezTo>
                <a:cubicBezTo>
                  <a:pt x="7013" y="17100"/>
                  <a:pt x="7013" y="17100"/>
                  <a:pt x="7013" y="17100"/>
                </a:cubicBezTo>
                <a:cubicBezTo>
                  <a:pt x="7013" y="7800"/>
                  <a:pt x="7013" y="7800"/>
                  <a:pt x="7013" y="7800"/>
                </a:cubicBezTo>
                <a:cubicBezTo>
                  <a:pt x="10099" y="7800"/>
                  <a:pt x="10099" y="7800"/>
                  <a:pt x="10099" y="7800"/>
                </a:cubicBezTo>
                <a:cubicBezTo>
                  <a:pt x="10099" y="17100"/>
                  <a:pt x="10099" y="17100"/>
                  <a:pt x="10099" y="17100"/>
                </a:cubicBezTo>
                <a:cubicBezTo>
                  <a:pt x="11501" y="17100"/>
                  <a:pt x="11501" y="17100"/>
                  <a:pt x="11501" y="17100"/>
                </a:cubicBezTo>
                <a:cubicBezTo>
                  <a:pt x="11501" y="7800"/>
                  <a:pt x="11501" y="7800"/>
                  <a:pt x="11501" y="7800"/>
                </a:cubicBezTo>
                <a:cubicBezTo>
                  <a:pt x="14306" y="7800"/>
                  <a:pt x="14306" y="7800"/>
                  <a:pt x="14306" y="7800"/>
                </a:cubicBezTo>
                <a:cubicBezTo>
                  <a:pt x="14306" y="17100"/>
                  <a:pt x="14306" y="17100"/>
                  <a:pt x="14306" y="17100"/>
                </a:cubicBezTo>
                <a:cubicBezTo>
                  <a:pt x="15709" y="17100"/>
                  <a:pt x="15709" y="17100"/>
                  <a:pt x="15709" y="17100"/>
                </a:cubicBezTo>
                <a:cubicBezTo>
                  <a:pt x="15709" y="7800"/>
                  <a:pt x="15709" y="7800"/>
                  <a:pt x="15709" y="7800"/>
                </a:cubicBezTo>
                <a:cubicBezTo>
                  <a:pt x="18795" y="7800"/>
                  <a:pt x="18795" y="7800"/>
                  <a:pt x="18795" y="7800"/>
                </a:cubicBezTo>
                <a:cubicBezTo>
                  <a:pt x="18795" y="17100"/>
                  <a:pt x="18795" y="17100"/>
                  <a:pt x="18795" y="17100"/>
                </a:cubicBezTo>
                <a:cubicBezTo>
                  <a:pt x="19356" y="17100"/>
                  <a:pt x="19356" y="17100"/>
                  <a:pt x="19356" y="17100"/>
                </a:cubicBezTo>
                <a:cubicBezTo>
                  <a:pt x="19636" y="17100"/>
                  <a:pt x="20197" y="17400"/>
                  <a:pt x="20197" y="17700"/>
                </a:cubicBezTo>
                <a:cubicBezTo>
                  <a:pt x="20197" y="18600"/>
                  <a:pt x="20197" y="18600"/>
                  <a:pt x="20197" y="18600"/>
                </a:cubicBezTo>
                <a:cubicBezTo>
                  <a:pt x="1403" y="18600"/>
                  <a:pt x="1403" y="18600"/>
                  <a:pt x="1403" y="18600"/>
                </a:cubicBezTo>
                <a:cubicBezTo>
                  <a:pt x="1403" y="17700"/>
                  <a:pt x="1403" y="17700"/>
                  <a:pt x="1403" y="17700"/>
                </a:cubicBezTo>
                <a:cubicBezTo>
                  <a:pt x="1403" y="17400"/>
                  <a:pt x="1683" y="17100"/>
                  <a:pt x="2244" y="17100"/>
                </a:cubicBezTo>
                <a:cubicBezTo>
                  <a:pt x="2805" y="17100"/>
                  <a:pt x="2805" y="17100"/>
                  <a:pt x="2805" y="17100"/>
                </a:cubicBezTo>
                <a:cubicBezTo>
                  <a:pt x="2805" y="7800"/>
                  <a:pt x="2805" y="7800"/>
                  <a:pt x="2805" y="7800"/>
                </a:cubicBezTo>
                <a:lnTo>
                  <a:pt x="5610" y="7800"/>
                </a:lnTo>
                <a:close/>
              </a:path>
            </a:pathLst>
          </a:custGeom>
          <a:solidFill>
            <a:srgbClr val="0F6FC6"/>
          </a:solidFill>
          <a:ln w="12700" cap="flat">
            <a:noFill/>
            <a:miter lim="400000"/>
          </a:ln>
          <a:effectLst/>
        </p:spPr>
        <p:txBody>
          <a:bodyPr wrap="square" lIns="45713" tIns="45713" rIns="45713" bIns="45713" numCol="1" anchor="t">
            <a:noAutofit/>
          </a:bodyPr>
          <a:lstStyle/>
          <a:p>
            <a:pPr defTabSz="457109">
              <a:defRPr sz="24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pPr>
            <a:endParaRPr sz="2400"/>
          </a:p>
        </p:txBody>
      </p:sp>
      <p:sp>
        <p:nvSpPr>
          <p:cNvPr id="90" name="Прямоугольник 89">
            <a:extLst>
              <a:ext uri="{FF2B5EF4-FFF2-40B4-BE49-F238E27FC236}">
                <a16:creationId xmlns:a16="http://schemas.microsoft.com/office/drawing/2014/main" id="{BC1714B0-6D9D-44CC-A785-7B824A005F2D}"/>
              </a:ext>
            </a:extLst>
          </p:cNvPr>
          <p:cNvSpPr/>
          <p:nvPr/>
        </p:nvSpPr>
        <p:spPr>
          <a:xfrm>
            <a:off x="8046118" y="2096719"/>
            <a:ext cx="1675459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4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ҚР ДСМ, </a:t>
            </a:r>
            <a:r>
              <a:rPr lang="ru-RU" sz="1400" b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ӘлМСҚ</a:t>
            </a:r>
            <a:endParaRPr lang="ru-RU" sz="14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id="{07E7E669-E801-451E-B0E2-C44EBD07DC7C}"/>
              </a:ext>
            </a:extLst>
          </p:cNvPr>
          <p:cNvSpPr/>
          <p:nvPr/>
        </p:nvSpPr>
        <p:spPr>
          <a:xfrm>
            <a:off x="1036333" y="3027570"/>
            <a:ext cx="4298950" cy="16004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1000"/>
              </a:spcAft>
            </a:pPr>
            <a:r>
              <a:rPr lang="ru-RU" sz="14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САК </a:t>
            </a:r>
            <a:r>
              <a:rPr lang="ru-RU" sz="1400" b="1" dirty="0" err="1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деңгейінде</a:t>
            </a:r>
            <a:r>
              <a:rPr lang="ru-RU" sz="14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b="1" dirty="0" err="1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амандар</a:t>
            </a:r>
            <a:r>
              <a:rPr lang="ru-RU" sz="14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b="1" dirty="0" err="1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өрсететін</a:t>
            </a:r>
            <a:r>
              <a:rPr lang="ru-RU" sz="14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b="1" dirty="0" err="1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қызметтердің</a:t>
            </a:r>
            <a:r>
              <a:rPr lang="ru-RU" sz="14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b="1" dirty="0" err="1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бір</a:t>
            </a:r>
            <a:r>
              <a:rPr lang="ru-RU" sz="14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b="1" dirty="0" err="1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бөлігінің</a:t>
            </a:r>
            <a:r>
              <a:rPr lang="ru-RU" sz="14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осы </a:t>
            </a:r>
            <a:r>
              <a:rPr lang="ru-RU" sz="1400" b="1" dirty="0" err="1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өрсетілетін</a:t>
            </a:r>
            <a:r>
              <a:rPr lang="ru-RU" sz="14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b="1" dirty="0" err="1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қызметтерге</a:t>
            </a:r>
            <a:r>
              <a:rPr lang="ru-RU" sz="14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b="1" dirty="0" err="1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ұмсалған</a:t>
            </a:r>
            <a:r>
              <a:rPr lang="ru-RU" sz="14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b="1" dirty="0" err="1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қаражаттың</a:t>
            </a:r>
            <a:r>
              <a:rPr lang="ru-RU" sz="14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b="1" dirty="0" err="1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өзіндік</a:t>
            </a:r>
            <a:r>
              <a:rPr lang="ru-RU" sz="14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b="1" dirty="0" err="1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құнынан</a:t>
            </a:r>
            <a:r>
              <a:rPr lang="ru-RU" sz="14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b="1" dirty="0" err="1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бірнеше</a:t>
            </a:r>
            <a:r>
              <a:rPr lang="ru-RU" sz="14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b="1" dirty="0" err="1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есе</a:t>
            </a:r>
            <a:r>
              <a:rPr lang="ru-RU" sz="14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b="1" dirty="0" err="1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өмен</a:t>
            </a:r>
            <a:r>
              <a:rPr lang="ru-RU" sz="14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b="1" dirty="0" err="1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бағасы</a:t>
            </a:r>
            <a:r>
              <a:rPr lang="ru-RU" sz="14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b="1" dirty="0" err="1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әне</a:t>
            </a:r>
            <a:r>
              <a:rPr lang="ru-RU" sz="14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/</a:t>
            </a:r>
            <a:r>
              <a:rPr lang="ru-RU" sz="1400" b="1" dirty="0" err="1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емесе</a:t>
            </a:r>
            <a:r>
              <a:rPr lang="ru-RU" sz="14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осы </a:t>
            </a:r>
            <a:r>
              <a:rPr lang="ru-RU" sz="1400" b="1" dirty="0" err="1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өрсетілетін</a:t>
            </a:r>
            <a:r>
              <a:rPr lang="ru-RU" sz="14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b="1" dirty="0" err="1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қызметтерді</a:t>
            </a:r>
            <a:r>
              <a:rPr lang="ru-RU" sz="14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b="1" dirty="0" err="1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еке</a:t>
            </a:r>
            <a:r>
              <a:rPr lang="ru-RU" sz="14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b="1" dirty="0" err="1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еткізушілермен</a:t>
            </a:r>
            <a:r>
              <a:rPr lang="ru-RU" sz="14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b="1" dirty="0" err="1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алыстырғанда</a:t>
            </a:r>
            <a:r>
              <a:rPr lang="ru-RU" sz="14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b="1" dirty="0" err="1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арзанырақ</a:t>
            </a:r>
            <a:r>
              <a:rPr lang="ru-RU" sz="14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b="1" dirty="0" err="1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бағасы</a:t>
            </a:r>
            <a:r>
              <a:rPr lang="ru-RU" sz="14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бар.</a:t>
            </a:r>
          </a:p>
        </p:txBody>
      </p:sp>
      <p:grpSp>
        <p:nvGrpSpPr>
          <p:cNvPr id="76" name="Группа 75">
            <a:extLst>
              <a:ext uri="{FF2B5EF4-FFF2-40B4-BE49-F238E27FC236}">
                <a16:creationId xmlns:a16="http://schemas.microsoft.com/office/drawing/2014/main" id="{5508A3DF-57CC-4051-9321-88A26B8816C3}"/>
              </a:ext>
            </a:extLst>
          </p:cNvPr>
          <p:cNvGrpSpPr/>
          <p:nvPr/>
        </p:nvGrpSpPr>
        <p:grpSpPr>
          <a:xfrm>
            <a:off x="454381" y="3143911"/>
            <a:ext cx="523493" cy="416270"/>
            <a:chOff x="490713" y="1392210"/>
            <a:chExt cx="523493" cy="416270"/>
          </a:xfrm>
        </p:grpSpPr>
        <p:grpSp>
          <p:nvGrpSpPr>
            <p:cNvPr id="77" name="Группа 76">
              <a:extLst>
                <a:ext uri="{FF2B5EF4-FFF2-40B4-BE49-F238E27FC236}">
                  <a16:creationId xmlns:a16="http://schemas.microsoft.com/office/drawing/2014/main" id="{E581E669-73DC-4A16-A100-653A3CA25799}"/>
                </a:ext>
              </a:extLst>
            </p:cNvPr>
            <p:cNvGrpSpPr/>
            <p:nvPr/>
          </p:nvGrpSpPr>
          <p:grpSpPr>
            <a:xfrm>
              <a:off x="490713" y="1392210"/>
              <a:ext cx="523493" cy="416270"/>
              <a:chOff x="622705" y="1899098"/>
              <a:chExt cx="1736162" cy="1380560"/>
            </a:xfrm>
          </p:grpSpPr>
          <p:sp>
            <p:nvSpPr>
              <p:cNvPr id="108" name="Rounded Rectangle 46">
                <a:extLst>
                  <a:ext uri="{FF2B5EF4-FFF2-40B4-BE49-F238E27FC236}">
                    <a16:creationId xmlns:a16="http://schemas.microsoft.com/office/drawing/2014/main" id="{E3B3C298-702F-4C7A-AB43-414F685BFF34}"/>
                  </a:ext>
                </a:extLst>
              </p:cNvPr>
              <p:cNvSpPr/>
              <p:nvPr/>
            </p:nvSpPr>
            <p:spPr>
              <a:xfrm rot="18900000">
                <a:off x="964360" y="1899098"/>
                <a:ext cx="1394507" cy="1380560"/>
              </a:xfrm>
              <a:prstGeom prst="roundRect">
                <a:avLst/>
              </a:prstGeom>
              <a:solidFill>
                <a:srgbClr val="F4F4F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109" name="Rounded Rectangle 46">
                <a:extLst>
                  <a:ext uri="{FF2B5EF4-FFF2-40B4-BE49-F238E27FC236}">
                    <a16:creationId xmlns:a16="http://schemas.microsoft.com/office/drawing/2014/main" id="{98C47972-723C-4B5C-8EBF-E9D73B828E38}"/>
                  </a:ext>
                </a:extLst>
              </p:cNvPr>
              <p:cNvSpPr/>
              <p:nvPr/>
            </p:nvSpPr>
            <p:spPr>
              <a:xfrm rot="18900000">
                <a:off x="622705" y="1899098"/>
                <a:ext cx="1394507" cy="1380560"/>
              </a:xfrm>
              <a:prstGeom prst="roundRect">
                <a:avLst/>
              </a:prstGeom>
              <a:gradFill>
                <a:gsLst>
                  <a:gs pos="0">
                    <a:srgbClr val="0F6FC6"/>
                  </a:gs>
                  <a:gs pos="100000">
                    <a:srgbClr val="0BD0D9"/>
                  </a:gs>
                  <a:gs pos="57000">
                    <a:srgbClr val="019DD8"/>
                  </a:gs>
                </a:gsLst>
                <a:lin ang="4800000" scaled="0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78" name="TextBox 77">
              <a:extLst>
                <a:ext uri="{FF2B5EF4-FFF2-40B4-BE49-F238E27FC236}">
                  <a16:creationId xmlns:a16="http://schemas.microsoft.com/office/drawing/2014/main" id="{A7EDE688-8CA1-43B6-B679-E47D0D84CA90}"/>
                </a:ext>
              </a:extLst>
            </p:cNvPr>
            <p:cNvSpPr txBox="1"/>
            <p:nvPr/>
          </p:nvSpPr>
          <p:spPr>
            <a:xfrm>
              <a:off x="521676" y="1396502"/>
              <a:ext cx="348172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2000" b="1" dirty="0">
                  <a:solidFill>
                    <a:schemeClr val="bg1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4</a:t>
              </a:r>
            </a:p>
          </p:txBody>
        </p:sp>
      </p:grpSp>
      <p:sp>
        <p:nvSpPr>
          <p:cNvPr id="16" name="Прямоугольник 15">
            <a:extLst>
              <a:ext uri="{FF2B5EF4-FFF2-40B4-BE49-F238E27FC236}">
                <a16:creationId xmlns:a16="http://schemas.microsoft.com/office/drawing/2014/main" id="{46EEABA2-4F57-481B-9042-B20246AE6A38}"/>
              </a:ext>
            </a:extLst>
          </p:cNvPr>
          <p:cNvSpPr/>
          <p:nvPr/>
        </p:nvSpPr>
        <p:spPr>
          <a:xfrm>
            <a:off x="6173849" y="3172802"/>
            <a:ext cx="3656919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chemeClr val="tx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едициналық </a:t>
            </a:r>
            <a:r>
              <a:rPr lang="ru-RU" sz="1400" dirty="0" err="1">
                <a:solidFill>
                  <a:schemeClr val="tx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қызметтер</a:t>
            </a:r>
            <a:r>
              <a:rPr lang="ru-RU" sz="1400" dirty="0">
                <a:solidFill>
                  <a:schemeClr val="tx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solidFill>
                  <a:schemeClr val="tx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арификаторын</a:t>
            </a:r>
            <a:r>
              <a:rPr lang="ru-RU" sz="1400" dirty="0">
                <a:solidFill>
                  <a:schemeClr val="tx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solidFill>
                  <a:schemeClr val="tx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қызмет</a:t>
            </a:r>
            <a:r>
              <a:rPr lang="ru-RU" sz="1400" dirty="0">
                <a:solidFill>
                  <a:schemeClr val="tx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solidFill>
                  <a:schemeClr val="tx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құнының</a:t>
            </a:r>
            <a:r>
              <a:rPr lang="ru-RU" sz="1400" dirty="0">
                <a:solidFill>
                  <a:schemeClr val="tx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solidFill>
                  <a:schemeClr val="tx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егіздемесімен</a:t>
            </a:r>
            <a:r>
              <a:rPr lang="ru-RU" sz="1400" dirty="0">
                <a:solidFill>
                  <a:schemeClr val="tx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solidFill>
                  <a:schemeClr val="tx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құны</a:t>
            </a:r>
            <a:r>
              <a:rPr lang="ru-RU" sz="1400" dirty="0">
                <a:solidFill>
                  <a:schemeClr val="tx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solidFill>
                  <a:schemeClr val="tx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бөлігінде</a:t>
            </a:r>
            <a:r>
              <a:rPr lang="ru-RU" sz="1400" dirty="0">
                <a:solidFill>
                  <a:schemeClr val="tx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solidFill>
                  <a:schemeClr val="tx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қайта</a:t>
            </a:r>
            <a:r>
              <a:rPr lang="ru-RU" sz="1400" dirty="0">
                <a:solidFill>
                  <a:schemeClr val="tx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solidFill>
                  <a:schemeClr val="tx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қарау</a:t>
            </a:r>
            <a:endParaRPr lang="ru-RU" sz="1400" dirty="0">
              <a:solidFill>
                <a:schemeClr val="tx2">
                  <a:lumMod val="75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10" name="Прямоугольник 109">
            <a:extLst>
              <a:ext uri="{FF2B5EF4-FFF2-40B4-BE49-F238E27FC236}">
                <a16:creationId xmlns:a16="http://schemas.microsoft.com/office/drawing/2014/main" id="{2BA3BC63-DBFB-4CAB-A9E4-1935CFE533FF}"/>
              </a:ext>
            </a:extLst>
          </p:cNvPr>
          <p:cNvSpPr/>
          <p:nvPr/>
        </p:nvSpPr>
        <p:spPr>
          <a:xfrm>
            <a:off x="6258353" y="4267018"/>
            <a:ext cx="1314784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200" b="1" dirty="0" err="1">
                <a:solidFill>
                  <a:srgbClr val="0F6FC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ауаптылар</a:t>
            </a:r>
            <a:r>
              <a:rPr lang="ru-RU" sz="1200" b="1" dirty="0">
                <a:solidFill>
                  <a:srgbClr val="0F6FC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:</a:t>
            </a:r>
            <a:endParaRPr lang="ru-RU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11" name="Shape 5654">
            <a:extLst>
              <a:ext uri="{FF2B5EF4-FFF2-40B4-BE49-F238E27FC236}">
                <a16:creationId xmlns:a16="http://schemas.microsoft.com/office/drawing/2014/main" id="{7740C26C-CD61-436B-A2C7-E57C4AEDBE51}"/>
              </a:ext>
            </a:extLst>
          </p:cNvPr>
          <p:cNvSpPr/>
          <p:nvPr/>
        </p:nvSpPr>
        <p:spPr>
          <a:xfrm>
            <a:off x="6093021" y="4313859"/>
            <a:ext cx="204152" cy="19070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4800"/>
                </a:moveTo>
                <a:cubicBezTo>
                  <a:pt x="21600" y="6300"/>
                  <a:pt x="21600" y="6300"/>
                  <a:pt x="21600" y="6300"/>
                </a:cubicBezTo>
                <a:cubicBezTo>
                  <a:pt x="20197" y="6300"/>
                  <a:pt x="20197" y="6300"/>
                  <a:pt x="20197" y="6300"/>
                </a:cubicBezTo>
                <a:cubicBezTo>
                  <a:pt x="20197" y="6600"/>
                  <a:pt x="19636" y="6900"/>
                  <a:pt x="19356" y="6900"/>
                </a:cubicBezTo>
                <a:cubicBezTo>
                  <a:pt x="2244" y="6900"/>
                  <a:pt x="2244" y="6900"/>
                  <a:pt x="2244" y="6900"/>
                </a:cubicBezTo>
                <a:cubicBezTo>
                  <a:pt x="1683" y="6900"/>
                  <a:pt x="1403" y="6600"/>
                  <a:pt x="1403" y="6300"/>
                </a:cubicBezTo>
                <a:cubicBezTo>
                  <a:pt x="0" y="6300"/>
                  <a:pt x="0" y="6300"/>
                  <a:pt x="0" y="6300"/>
                </a:cubicBezTo>
                <a:cubicBezTo>
                  <a:pt x="0" y="4800"/>
                  <a:pt x="0" y="4800"/>
                  <a:pt x="0" y="4800"/>
                </a:cubicBezTo>
                <a:cubicBezTo>
                  <a:pt x="10660" y="0"/>
                  <a:pt x="10660" y="0"/>
                  <a:pt x="10660" y="0"/>
                </a:cubicBezTo>
                <a:lnTo>
                  <a:pt x="21600" y="4800"/>
                </a:lnTo>
                <a:close/>
                <a:moveTo>
                  <a:pt x="21600" y="20100"/>
                </a:moveTo>
                <a:cubicBezTo>
                  <a:pt x="21600" y="21600"/>
                  <a:pt x="21600" y="21600"/>
                  <a:pt x="21600" y="21600"/>
                </a:cubicBezTo>
                <a:cubicBezTo>
                  <a:pt x="0" y="21600"/>
                  <a:pt x="0" y="21600"/>
                  <a:pt x="0" y="21600"/>
                </a:cubicBezTo>
                <a:cubicBezTo>
                  <a:pt x="0" y="20100"/>
                  <a:pt x="0" y="20100"/>
                  <a:pt x="0" y="20100"/>
                </a:cubicBezTo>
                <a:cubicBezTo>
                  <a:pt x="0" y="19800"/>
                  <a:pt x="281" y="19500"/>
                  <a:pt x="842" y="19500"/>
                </a:cubicBezTo>
                <a:cubicBezTo>
                  <a:pt x="20758" y="19500"/>
                  <a:pt x="20758" y="19500"/>
                  <a:pt x="20758" y="19500"/>
                </a:cubicBezTo>
                <a:cubicBezTo>
                  <a:pt x="21319" y="19500"/>
                  <a:pt x="21600" y="19800"/>
                  <a:pt x="21600" y="20100"/>
                </a:cubicBezTo>
                <a:close/>
                <a:moveTo>
                  <a:pt x="5610" y="7800"/>
                </a:moveTo>
                <a:cubicBezTo>
                  <a:pt x="5610" y="17100"/>
                  <a:pt x="5610" y="17100"/>
                  <a:pt x="5610" y="17100"/>
                </a:cubicBezTo>
                <a:cubicBezTo>
                  <a:pt x="7013" y="17100"/>
                  <a:pt x="7013" y="17100"/>
                  <a:pt x="7013" y="17100"/>
                </a:cubicBezTo>
                <a:cubicBezTo>
                  <a:pt x="7013" y="7800"/>
                  <a:pt x="7013" y="7800"/>
                  <a:pt x="7013" y="7800"/>
                </a:cubicBezTo>
                <a:cubicBezTo>
                  <a:pt x="10099" y="7800"/>
                  <a:pt x="10099" y="7800"/>
                  <a:pt x="10099" y="7800"/>
                </a:cubicBezTo>
                <a:cubicBezTo>
                  <a:pt x="10099" y="17100"/>
                  <a:pt x="10099" y="17100"/>
                  <a:pt x="10099" y="17100"/>
                </a:cubicBezTo>
                <a:cubicBezTo>
                  <a:pt x="11501" y="17100"/>
                  <a:pt x="11501" y="17100"/>
                  <a:pt x="11501" y="17100"/>
                </a:cubicBezTo>
                <a:cubicBezTo>
                  <a:pt x="11501" y="7800"/>
                  <a:pt x="11501" y="7800"/>
                  <a:pt x="11501" y="7800"/>
                </a:cubicBezTo>
                <a:cubicBezTo>
                  <a:pt x="14306" y="7800"/>
                  <a:pt x="14306" y="7800"/>
                  <a:pt x="14306" y="7800"/>
                </a:cubicBezTo>
                <a:cubicBezTo>
                  <a:pt x="14306" y="17100"/>
                  <a:pt x="14306" y="17100"/>
                  <a:pt x="14306" y="17100"/>
                </a:cubicBezTo>
                <a:cubicBezTo>
                  <a:pt x="15709" y="17100"/>
                  <a:pt x="15709" y="17100"/>
                  <a:pt x="15709" y="17100"/>
                </a:cubicBezTo>
                <a:cubicBezTo>
                  <a:pt x="15709" y="7800"/>
                  <a:pt x="15709" y="7800"/>
                  <a:pt x="15709" y="7800"/>
                </a:cubicBezTo>
                <a:cubicBezTo>
                  <a:pt x="18795" y="7800"/>
                  <a:pt x="18795" y="7800"/>
                  <a:pt x="18795" y="7800"/>
                </a:cubicBezTo>
                <a:cubicBezTo>
                  <a:pt x="18795" y="17100"/>
                  <a:pt x="18795" y="17100"/>
                  <a:pt x="18795" y="17100"/>
                </a:cubicBezTo>
                <a:cubicBezTo>
                  <a:pt x="19356" y="17100"/>
                  <a:pt x="19356" y="17100"/>
                  <a:pt x="19356" y="17100"/>
                </a:cubicBezTo>
                <a:cubicBezTo>
                  <a:pt x="19636" y="17100"/>
                  <a:pt x="20197" y="17400"/>
                  <a:pt x="20197" y="17700"/>
                </a:cubicBezTo>
                <a:cubicBezTo>
                  <a:pt x="20197" y="18600"/>
                  <a:pt x="20197" y="18600"/>
                  <a:pt x="20197" y="18600"/>
                </a:cubicBezTo>
                <a:cubicBezTo>
                  <a:pt x="1403" y="18600"/>
                  <a:pt x="1403" y="18600"/>
                  <a:pt x="1403" y="18600"/>
                </a:cubicBezTo>
                <a:cubicBezTo>
                  <a:pt x="1403" y="17700"/>
                  <a:pt x="1403" y="17700"/>
                  <a:pt x="1403" y="17700"/>
                </a:cubicBezTo>
                <a:cubicBezTo>
                  <a:pt x="1403" y="17400"/>
                  <a:pt x="1683" y="17100"/>
                  <a:pt x="2244" y="17100"/>
                </a:cubicBezTo>
                <a:cubicBezTo>
                  <a:pt x="2805" y="17100"/>
                  <a:pt x="2805" y="17100"/>
                  <a:pt x="2805" y="17100"/>
                </a:cubicBezTo>
                <a:cubicBezTo>
                  <a:pt x="2805" y="7800"/>
                  <a:pt x="2805" y="7800"/>
                  <a:pt x="2805" y="7800"/>
                </a:cubicBezTo>
                <a:lnTo>
                  <a:pt x="5610" y="7800"/>
                </a:lnTo>
                <a:close/>
              </a:path>
            </a:pathLst>
          </a:custGeom>
          <a:solidFill>
            <a:srgbClr val="0F6FC6"/>
          </a:solidFill>
          <a:ln w="12700" cap="flat">
            <a:noFill/>
            <a:miter lim="400000"/>
          </a:ln>
          <a:effectLst/>
        </p:spPr>
        <p:txBody>
          <a:bodyPr wrap="square" lIns="45713" tIns="45713" rIns="45713" bIns="45713" numCol="1" anchor="t">
            <a:noAutofit/>
          </a:bodyPr>
          <a:lstStyle/>
          <a:p>
            <a:pPr defTabSz="457109">
              <a:defRPr sz="24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pPr>
            <a:endParaRPr sz="2400"/>
          </a:p>
        </p:txBody>
      </p:sp>
      <p:sp>
        <p:nvSpPr>
          <p:cNvPr id="112" name="Прямоугольник 111">
            <a:extLst>
              <a:ext uri="{FF2B5EF4-FFF2-40B4-BE49-F238E27FC236}">
                <a16:creationId xmlns:a16="http://schemas.microsoft.com/office/drawing/2014/main" id="{8A179587-2419-4F3E-95A0-3215AA53150D}"/>
              </a:ext>
            </a:extLst>
          </p:cNvPr>
          <p:cNvSpPr/>
          <p:nvPr/>
        </p:nvSpPr>
        <p:spPr>
          <a:xfrm>
            <a:off x="7822267" y="4281532"/>
            <a:ext cx="1675459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4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ҚР ДСМ, </a:t>
            </a:r>
            <a:r>
              <a:rPr lang="ru-RU" sz="1400" b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ӘлМСҚ</a:t>
            </a:r>
            <a:endParaRPr lang="ru-RU" sz="14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13" name="Равнобедренный треугольник 112">
            <a:extLst>
              <a:ext uri="{FF2B5EF4-FFF2-40B4-BE49-F238E27FC236}">
                <a16:creationId xmlns:a16="http://schemas.microsoft.com/office/drawing/2014/main" id="{A3A10815-B362-44E8-A27C-7C70943BEF1D}"/>
              </a:ext>
            </a:extLst>
          </p:cNvPr>
          <p:cNvSpPr/>
          <p:nvPr/>
        </p:nvSpPr>
        <p:spPr>
          <a:xfrm rot="5400000">
            <a:off x="5043314" y="1863262"/>
            <a:ext cx="1166935" cy="292322"/>
          </a:xfrm>
          <a:prstGeom prst="triangle">
            <a:avLst/>
          </a:prstGeom>
          <a:solidFill>
            <a:srgbClr val="DEEB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4" name="Равнобедренный треугольник 113">
            <a:extLst>
              <a:ext uri="{FF2B5EF4-FFF2-40B4-BE49-F238E27FC236}">
                <a16:creationId xmlns:a16="http://schemas.microsoft.com/office/drawing/2014/main" id="{DDEFADDE-DBEA-404C-A59B-0A00303F8F53}"/>
              </a:ext>
            </a:extLst>
          </p:cNvPr>
          <p:cNvSpPr/>
          <p:nvPr/>
        </p:nvSpPr>
        <p:spPr>
          <a:xfrm rot="5400000">
            <a:off x="4956061" y="3658180"/>
            <a:ext cx="1325880" cy="228600"/>
          </a:xfrm>
          <a:prstGeom prst="triangle">
            <a:avLst/>
          </a:prstGeom>
          <a:solidFill>
            <a:srgbClr val="DEEB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34" name="Группа 33">
            <a:extLst>
              <a:ext uri="{FF2B5EF4-FFF2-40B4-BE49-F238E27FC236}">
                <a16:creationId xmlns:a16="http://schemas.microsoft.com/office/drawing/2014/main" id="{0BF3E0D9-8C8C-4B1A-9742-2FCCA96545DD}"/>
              </a:ext>
            </a:extLst>
          </p:cNvPr>
          <p:cNvGrpSpPr/>
          <p:nvPr/>
        </p:nvGrpSpPr>
        <p:grpSpPr>
          <a:xfrm>
            <a:off x="450588" y="4952229"/>
            <a:ext cx="523493" cy="461665"/>
            <a:chOff x="490713" y="1351280"/>
            <a:chExt cx="523493" cy="461665"/>
          </a:xfrm>
        </p:grpSpPr>
        <p:grpSp>
          <p:nvGrpSpPr>
            <p:cNvPr id="35" name="Группа 34">
              <a:extLst>
                <a:ext uri="{FF2B5EF4-FFF2-40B4-BE49-F238E27FC236}">
                  <a16:creationId xmlns:a16="http://schemas.microsoft.com/office/drawing/2014/main" id="{790550D1-2801-44A1-940E-2B9DCE7F7B2F}"/>
                </a:ext>
              </a:extLst>
            </p:cNvPr>
            <p:cNvGrpSpPr/>
            <p:nvPr/>
          </p:nvGrpSpPr>
          <p:grpSpPr>
            <a:xfrm>
              <a:off x="490713" y="1392210"/>
              <a:ext cx="523493" cy="416270"/>
              <a:chOff x="622705" y="1899098"/>
              <a:chExt cx="1736162" cy="1380560"/>
            </a:xfrm>
          </p:grpSpPr>
          <p:sp>
            <p:nvSpPr>
              <p:cNvPr id="37" name="Rounded Rectangle 46">
                <a:extLst>
                  <a:ext uri="{FF2B5EF4-FFF2-40B4-BE49-F238E27FC236}">
                    <a16:creationId xmlns:a16="http://schemas.microsoft.com/office/drawing/2014/main" id="{BEFF7DBA-DFF1-484F-B07E-9DEB6CE8477D}"/>
                  </a:ext>
                </a:extLst>
              </p:cNvPr>
              <p:cNvSpPr/>
              <p:nvPr/>
            </p:nvSpPr>
            <p:spPr>
              <a:xfrm rot="18900000">
                <a:off x="964360" y="1899098"/>
                <a:ext cx="1394507" cy="1380560"/>
              </a:xfrm>
              <a:prstGeom prst="roundRect">
                <a:avLst/>
              </a:prstGeom>
              <a:solidFill>
                <a:srgbClr val="F4F4F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38" name="Rounded Rectangle 46">
                <a:extLst>
                  <a:ext uri="{FF2B5EF4-FFF2-40B4-BE49-F238E27FC236}">
                    <a16:creationId xmlns:a16="http://schemas.microsoft.com/office/drawing/2014/main" id="{C46C9590-039C-4778-91DD-7C37DA143AFC}"/>
                  </a:ext>
                </a:extLst>
              </p:cNvPr>
              <p:cNvSpPr/>
              <p:nvPr/>
            </p:nvSpPr>
            <p:spPr>
              <a:xfrm rot="18900000">
                <a:off x="622705" y="1899098"/>
                <a:ext cx="1394507" cy="1380560"/>
              </a:xfrm>
              <a:prstGeom prst="roundRect">
                <a:avLst/>
              </a:prstGeom>
              <a:gradFill>
                <a:gsLst>
                  <a:gs pos="0">
                    <a:srgbClr val="0F6FC6"/>
                  </a:gs>
                  <a:gs pos="100000">
                    <a:srgbClr val="0BD0D9"/>
                  </a:gs>
                  <a:gs pos="57000">
                    <a:srgbClr val="019DD8"/>
                  </a:gs>
                </a:gsLst>
                <a:lin ang="4800000" scaled="0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927449A4-F4C4-4B34-B853-1668BD2463CE}"/>
                </a:ext>
              </a:extLst>
            </p:cNvPr>
            <p:cNvSpPr txBox="1"/>
            <p:nvPr/>
          </p:nvSpPr>
          <p:spPr>
            <a:xfrm>
              <a:off x="508000" y="1351280"/>
              <a:ext cx="380232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2400" b="1" dirty="0">
                  <a:solidFill>
                    <a:schemeClr val="bg1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5</a:t>
              </a:r>
            </a:p>
          </p:txBody>
        </p:sp>
      </p:grpSp>
      <p:sp>
        <p:nvSpPr>
          <p:cNvPr id="39" name="Прямоугольник 38">
            <a:extLst>
              <a:ext uri="{FF2B5EF4-FFF2-40B4-BE49-F238E27FC236}">
                <a16:creationId xmlns:a16="http://schemas.microsoft.com/office/drawing/2014/main" id="{2134866C-2678-4BA1-8F83-0BC46AFF131B}"/>
              </a:ext>
            </a:extLst>
          </p:cNvPr>
          <p:cNvSpPr/>
          <p:nvPr/>
        </p:nvSpPr>
        <p:spPr>
          <a:xfrm>
            <a:off x="1110269" y="4967618"/>
            <a:ext cx="3895804" cy="8925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0"/>
              </a:spcAft>
            </a:pPr>
            <a:r>
              <a:rPr lang="ru-RU" sz="1300" b="1" dirty="0" err="1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Бірыңғай</a:t>
            </a:r>
            <a:r>
              <a:rPr lang="ru-RU" sz="13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АЖ </a:t>
            </a:r>
            <a:r>
              <a:rPr lang="ru-RU" sz="1300" b="1" dirty="0" err="1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болмауы</a:t>
            </a:r>
            <a:r>
              <a:rPr lang="ru-RU" sz="13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.</a:t>
            </a:r>
          </a:p>
          <a:p>
            <a:pPr>
              <a:spcAft>
                <a:spcPts val="0"/>
              </a:spcAft>
            </a:pPr>
            <a:r>
              <a:rPr lang="ru-RU" sz="1300" dirty="0" err="1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Бір</a:t>
            </a:r>
            <a:r>
              <a:rPr lang="ru-RU" sz="1300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пациентке </a:t>
            </a:r>
            <a:r>
              <a:rPr lang="ru-RU" sz="1300" dirty="0" err="1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қызмет</a:t>
            </a:r>
            <a:r>
              <a:rPr lang="ru-RU" sz="1300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300" dirty="0" err="1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өрсету</a:t>
            </a:r>
            <a:r>
              <a:rPr lang="ru-RU" sz="1300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300" dirty="0" err="1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уақытын</a:t>
            </a:r>
            <a:r>
              <a:rPr lang="ru-RU" sz="1300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300" dirty="0" err="1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ұзартатын</a:t>
            </a:r>
            <a:r>
              <a:rPr lang="ru-RU" sz="1300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пациент </a:t>
            </a:r>
            <a:r>
              <a:rPr lang="ru-RU" sz="1300" dirty="0" err="1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уралы</a:t>
            </a:r>
            <a:r>
              <a:rPr lang="ru-RU" sz="1300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300" dirty="0" err="1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ақпарат</a:t>
            </a:r>
            <a:r>
              <a:rPr lang="ru-RU" sz="1300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300" dirty="0" err="1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алу</a:t>
            </a:r>
            <a:r>
              <a:rPr lang="ru-RU" sz="1300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300" dirty="0" err="1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үшін</a:t>
            </a:r>
            <a:r>
              <a:rPr lang="ru-RU" sz="1300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300" dirty="0" err="1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орталдар</a:t>
            </a:r>
            <a:r>
              <a:rPr lang="ru-RU" sz="1300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300" dirty="0" err="1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арасында</a:t>
            </a:r>
            <a:r>
              <a:rPr lang="ru-RU" sz="1300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интеграция </a:t>
            </a:r>
            <a:r>
              <a:rPr lang="ru-RU" sz="1300" dirty="0" err="1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оқ</a:t>
            </a:r>
            <a:r>
              <a:rPr lang="ru-RU" sz="1300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.</a:t>
            </a:r>
          </a:p>
        </p:txBody>
      </p:sp>
      <p:sp>
        <p:nvSpPr>
          <p:cNvPr id="40" name="Shape 5654">
            <a:extLst>
              <a:ext uri="{FF2B5EF4-FFF2-40B4-BE49-F238E27FC236}">
                <a16:creationId xmlns:a16="http://schemas.microsoft.com/office/drawing/2014/main" id="{BB5D5706-5EE5-4B11-9C3D-922584993728}"/>
              </a:ext>
            </a:extLst>
          </p:cNvPr>
          <p:cNvSpPr/>
          <p:nvPr/>
        </p:nvSpPr>
        <p:spPr>
          <a:xfrm>
            <a:off x="6173849" y="6239806"/>
            <a:ext cx="204152" cy="19070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4800"/>
                </a:moveTo>
                <a:cubicBezTo>
                  <a:pt x="21600" y="6300"/>
                  <a:pt x="21600" y="6300"/>
                  <a:pt x="21600" y="6300"/>
                </a:cubicBezTo>
                <a:cubicBezTo>
                  <a:pt x="20197" y="6300"/>
                  <a:pt x="20197" y="6300"/>
                  <a:pt x="20197" y="6300"/>
                </a:cubicBezTo>
                <a:cubicBezTo>
                  <a:pt x="20197" y="6600"/>
                  <a:pt x="19636" y="6900"/>
                  <a:pt x="19356" y="6900"/>
                </a:cubicBezTo>
                <a:cubicBezTo>
                  <a:pt x="2244" y="6900"/>
                  <a:pt x="2244" y="6900"/>
                  <a:pt x="2244" y="6900"/>
                </a:cubicBezTo>
                <a:cubicBezTo>
                  <a:pt x="1683" y="6900"/>
                  <a:pt x="1403" y="6600"/>
                  <a:pt x="1403" y="6300"/>
                </a:cubicBezTo>
                <a:cubicBezTo>
                  <a:pt x="0" y="6300"/>
                  <a:pt x="0" y="6300"/>
                  <a:pt x="0" y="6300"/>
                </a:cubicBezTo>
                <a:cubicBezTo>
                  <a:pt x="0" y="4800"/>
                  <a:pt x="0" y="4800"/>
                  <a:pt x="0" y="4800"/>
                </a:cubicBezTo>
                <a:cubicBezTo>
                  <a:pt x="10660" y="0"/>
                  <a:pt x="10660" y="0"/>
                  <a:pt x="10660" y="0"/>
                </a:cubicBezTo>
                <a:lnTo>
                  <a:pt x="21600" y="4800"/>
                </a:lnTo>
                <a:close/>
                <a:moveTo>
                  <a:pt x="21600" y="20100"/>
                </a:moveTo>
                <a:cubicBezTo>
                  <a:pt x="21600" y="21600"/>
                  <a:pt x="21600" y="21600"/>
                  <a:pt x="21600" y="21600"/>
                </a:cubicBezTo>
                <a:cubicBezTo>
                  <a:pt x="0" y="21600"/>
                  <a:pt x="0" y="21600"/>
                  <a:pt x="0" y="21600"/>
                </a:cubicBezTo>
                <a:cubicBezTo>
                  <a:pt x="0" y="20100"/>
                  <a:pt x="0" y="20100"/>
                  <a:pt x="0" y="20100"/>
                </a:cubicBezTo>
                <a:cubicBezTo>
                  <a:pt x="0" y="19800"/>
                  <a:pt x="281" y="19500"/>
                  <a:pt x="842" y="19500"/>
                </a:cubicBezTo>
                <a:cubicBezTo>
                  <a:pt x="20758" y="19500"/>
                  <a:pt x="20758" y="19500"/>
                  <a:pt x="20758" y="19500"/>
                </a:cubicBezTo>
                <a:cubicBezTo>
                  <a:pt x="21319" y="19500"/>
                  <a:pt x="21600" y="19800"/>
                  <a:pt x="21600" y="20100"/>
                </a:cubicBezTo>
                <a:close/>
                <a:moveTo>
                  <a:pt x="5610" y="7800"/>
                </a:moveTo>
                <a:cubicBezTo>
                  <a:pt x="5610" y="17100"/>
                  <a:pt x="5610" y="17100"/>
                  <a:pt x="5610" y="17100"/>
                </a:cubicBezTo>
                <a:cubicBezTo>
                  <a:pt x="7013" y="17100"/>
                  <a:pt x="7013" y="17100"/>
                  <a:pt x="7013" y="17100"/>
                </a:cubicBezTo>
                <a:cubicBezTo>
                  <a:pt x="7013" y="7800"/>
                  <a:pt x="7013" y="7800"/>
                  <a:pt x="7013" y="7800"/>
                </a:cubicBezTo>
                <a:cubicBezTo>
                  <a:pt x="10099" y="7800"/>
                  <a:pt x="10099" y="7800"/>
                  <a:pt x="10099" y="7800"/>
                </a:cubicBezTo>
                <a:cubicBezTo>
                  <a:pt x="10099" y="17100"/>
                  <a:pt x="10099" y="17100"/>
                  <a:pt x="10099" y="17100"/>
                </a:cubicBezTo>
                <a:cubicBezTo>
                  <a:pt x="11501" y="17100"/>
                  <a:pt x="11501" y="17100"/>
                  <a:pt x="11501" y="17100"/>
                </a:cubicBezTo>
                <a:cubicBezTo>
                  <a:pt x="11501" y="7800"/>
                  <a:pt x="11501" y="7800"/>
                  <a:pt x="11501" y="7800"/>
                </a:cubicBezTo>
                <a:cubicBezTo>
                  <a:pt x="14306" y="7800"/>
                  <a:pt x="14306" y="7800"/>
                  <a:pt x="14306" y="7800"/>
                </a:cubicBezTo>
                <a:cubicBezTo>
                  <a:pt x="14306" y="17100"/>
                  <a:pt x="14306" y="17100"/>
                  <a:pt x="14306" y="17100"/>
                </a:cubicBezTo>
                <a:cubicBezTo>
                  <a:pt x="15709" y="17100"/>
                  <a:pt x="15709" y="17100"/>
                  <a:pt x="15709" y="17100"/>
                </a:cubicBezTo>
                <a:cubicBezTo>
                  <a:pt x="15709" y="7800"/>
                  <a:pt x="15709" y="7800"/>
                  <a:pt x="15709" y="7800"/>
                </a:cubicBezTo>
                <a:cubicBezTo>
                  <a:pt x="18795" y="7800"/>
                  <a:pt x="18795" y="7800"/>
                  <a:pt x="18795" y="7800"/>
                </a:cubicBezTo>
                <a:cubicBezTo>
                  <a:pt x="18795" y="17100"/>
                  <a:pt x="18795" y="17100"/>
                  <a:pt x="18795" y="17100"/>
                </a:cubicBezTo>
                <a:cubicBezTo>
                  <a:pt x="19356" y="17100"/>
                  <a:pt x="19356" y="17100"/>
                  <a:pt x="19356" y="17100"/>
                </a:cubicBezTo>
                <a:cubicBezTo>
                  <a:pt x="19636" y="17100"/>
                  <a:pt x="20197" y="17400"/>
                  <a:pt x="20197" y="17700"/>
                </a:cubicBezTo>
                <a:cubicBezTo>
                  <a:pt x="20197" y="18600"/>
                  <a:pt x="20197" y="18600"/>
                  <a:pt x="20197" y="18600"/>
                </a:cubicBezTo>
                <a:cubicBezTo>
                  <a:pt x="1403" y="18600"/>
                  <a:pt x="1403" y="18600"/>
                  <a:pt x="1403" y="18600"/>
                </a:cubicBezTo>
                <a:cubicBezTo>
                  <a:pt x="1403" y="17700"/>
                  <a:pt x="1403" y="17700"/>
                  <a:pt x="1403" y="17700"/>
                </a:cubicBezTo>
                <a:cubicBezTo>
                  <a:pt x="1403" y="17400"/>
                  <a:pt x="1683" y="17100"/>
                  <a:pt x="2244" y="17100"/>
                </a:cubicBezTo>
                <a:cubicBezTo>
                  <a:pt x="2805" y="17100"/>
                  <a:pt x="2805" y="17100"/>
                  <a:pt x="2805" y="17100"/>
                </a:cubicBezTo>
                <a:cubicBezTo>
                  <a:pt x="2805" y="7800"/>
                  <a:pt x="2805" y="7800"/>
                  <a:pt x="2805" y="7800"/>
                </a:cubicBezTo>
                <a:lnTo>
                  <a:pt x="5610" y="7800"/>
                </a:lnTo>
                <a:close/>
              </a:path>
            </a:pathLst>
          </a:custGeom>
          <a:solidFill>
            <a:srgbClr val="0F6FC6"/>
          </a:solidFill>
          <a:ln w="12700" cap="flat">
            <a:noFill/>
            <a:miter lim="400000"/>
          </a:ln>
          <a:effectLst/>
        </p:spPr>
        <p:txBody>
          <a:bodyPr wrap="square" lIns="45713" tIns="45713" rIns="45713" bIns="45713" numCol="1" anchor="t">
            <a:noAutofit/>
          </a:bodyPr>
          <a:lstStyle/>
          <a:p>
            <a:pPr defTabSz="457109">
              <a:defRPr sz="24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pPr>
            <a:endParaRPr sz="2400"/>
          </a:p>
        </p:txBody>
      </p:sp>
      <p:sp>
        <p:nvSpPr>
          <p:cNvPr id="42" name="Прямоугольник 41">
            <a:extLst>
              <a:ext uri="{FF2B5EF4-FFF2-40B4-BE49-F238E27FC236}">
                <a16:creationId xmlns:a16="http://schemas.microsoft.com/office/drawing/2014/main" id="{33F66A74-0A94-4005-808D-CD164EF9D909}"/>
              </a:ext>
            </a:extLst>
          </p:cNvPr>
          <p:cNvSpPr/>
          <p:nvPr/>
        </p:nvSpPr>
        <p:spPr>
          <a:xfrm>
            <a:off x="6127358" y="6440658"/>
            <a:ext cx="4328429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2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ҚР ДСМ, </a:t>
            </a:r>
            <a:r>
              <a:rPr lang="ru-RU" sz="1200" b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ӘлМСҚ</a:t>
            </a:r>
            <a:r>
              <a:rPr lang="ru-RU" sz="12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, РЭДСО, ЖАО (МАЖ </a:t>
            </a:r>
            <a:r>
              <a:rPr lang="ru-RU" sz="1200" b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әзірлеушілері</a:t>
            </a:r>
            <a:r>
              <a:rPr lang="ru-RU" sz="12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)</a:t>
            </a:r>
            <a:endParaRPr lang="ru-RU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8" name="Прямоугольник 47">
            <a:extLst>
              <a:ext uri="{FF2B5EF4-FFF2-40B4-BE49-F238E27FC236}">
                <a16:creationId xmlns:a16="http://schemas.microsoft.com/office/drawing/2014/main" id="{7399078C-3A11-453B-A7EE-2D131130F82B}"/>
              </a:ext>
            </a:extLst>
          </p:cNvPr>
          <p:cNvSpPr/>
          <p:nvPr/>
        </p:nvSpPr>
        <p:spPr>
          <a:xfrm>
            <a:off x="5772943" y="4986255"/>
            <a:ext cx="5151032" cy="108234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1000"/>
              </a:spcAft>
            </a:pPr>
            <a:r>
              <a:rPr lang="ru-RU" sz="1400" dirty="0" err="1">
                <a:solidFill>
                  <a:schemeClr val="tx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Деректердің</a:t>
            </a:r>
            <a:r>
              <a:rPr lang="ru-RU" sz="1400" dirty="0">
                <a:solidFill>
                  <a:schemeClr val="tx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solidFill>
                  <a:schemeClr val="tx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қажетті</a:t>
            </a:r>
            <a:r>
              <a:rPr lang="ru-RU" sz="1400" dirty="0">
                <a:solidFill>
                  <a:schemeClr val="tx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solidFill>
                  <a:schemeClr val="tx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өлемін</a:t>
            </a:r>
            <a:r>
              <a:rPr lang="ru-RU" sz="1400" dirty="0">
                <a:solidFill>
                  <a:schemeClr val="tx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solidFill>
                  <a:schemeClr val="tx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ескере</a:t>
            </a:r>
            <a:r>
              <a:rPr lang="ru-RU" sz="1400" dirty="0">
                <a:solidFill>
                  <a:schemeClr val="tx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solidFill>
                  <a:schemeClr val="tx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тырып</a:t>
            </a:r>
            <a:r>
              <a:rPr lang="ru-RU" sz="1400" dirty="0">
                <a:solidFill>
                  <a:schemeClr val="tx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, </a:t>
            </a:r>
            <a:r>
              <a:rPr lang="ru-RU" sz="1400" dirty="0" err="1">
                <a:solidFill>
                  <a:schemeClr val="tx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үйелерді</a:t>
            </a:r>
            <a:r>
              <a:rPr lang="ru-RU" sz="1400" dirty="0">
                <a:solidFill>
                  <a:schemeClr val="tx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solidFill>
                  <a:schemeClr val="tx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біріктіруді</a:t>
            </a:r>
            <a:r>
              <a:rPr lang="ru-RU" sz="1400" dirty="0">
                <a:solidFill>
                  <a:schemeClr val="tx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solidFill>
                  <a:schemeClr val="tx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үргізу</a:t>
            </a:r>
            <a:r>
              <a:rPr lang="ru-RU" sz="1400" dirty="0">
                <a:solidFill>
                  <a:schemeClr val="tx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(</a:t>
            </a:r>
            <a:r>
              <a:rPr lang="ru-RU" sz="1400" dirty="0" err="1">
                <a:solidFill>
                  <a:schemeClr val="tx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ервистерді</a:t>
            </a:r>
            <a:r>
              <a:rPr lang="ru-RU" sz="1400" dirty="0">
                <a:solidFill>
                  <a:schemeClr val="tx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solidFill>
                  <a:schemeClr val="tx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одификациялау</a:t>
            </a:r>
            <a:r>
              <a:rPr lang="ru-RU" sz="1400" dirty="0">
                <a:solidFill>
                  <a:schemeClr val="tx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)</a:t>
            </a:r>
          </a:p>
          <a:p>
            <a:pPr>
              <a:spcAft>
                <a:spcPts val="1000"/>
              </a:spcAft>
            </a:pPr>
            <a:r>
              <a:rPr lang="ru-RU" sz="1400" dirty="0" err="1">
                <a:solidFill>
                  <a:schemeClr val="tx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Электрондық</a:t>
            </a:r>
            <a:r>
              <a:rPr lang="ru-RU" sz="1400" dirty="0">
                <a:solidFill>
                  <a:schemeClr val="tx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solidFill>
                  <a:schemeClr val="tx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денсаулық</a:t>
            </a:r>
            <a:r>
              <a:rPr lang="ru-RU" sz="1400" dirty="0">
                <a:solidFill>
                  <a:schemeClr val="tx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solidFill>
                  <a:schemeClr val="tx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ақтаудың</a:t>
            </a:r>
            <a:r>
              <a:rPr lang="ru-RU" sz="1400" dirty="0">
                <a:solidFill>
                  <a:schemeClr val="tx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solidFill>
                  <a:schemeClr val="tx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аңа</a:t>
            </a:r>
            <a:r>
              <a:rPr lang="ru-RU" sz="1400" dirty="0">
                <a:solidFill>
                  <a:schemeClr val="tx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solidFill>
                  <a:schemeClr val="tx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архитектурасына</a:t>
            </a:r>
            <a:r>
              <a:rPr lang="ru-RU" sz="1400" dirty="0">
                <a:solidFill>
                  <a:schemeClr val="tx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solidFill>
                  <a:schemeClr val="tx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өшіру</a:t>
            </a:r>
            <a:r>
              <a:rPr lang="ru-RU" sz="1400" dirty="0">
                <a:solidFill>
                  <a:schemeClr val="tx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(</a:t>
            </a:r>
            <a:r>
              <a:rPr lang="en-US" sz="1400" dirty="0">
                <a:solidFill>
                  <a:schemeClr val="tx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eHealth </a:t>
            </a:r>
            <a:r>
              <a:rPr lang="ru-RU" sz="1400" dirty="0" err="1">
                <a:solidFill>
                  <a:schemeClr val="tx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ядросы</a:t>
            </a:r>
            <a:r>
              <a:rPr lang="ru-RU" sz="1400" dirty="0">
                <a:solidFill>
                  <a:schemeClr val="tx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мен </a:t>
            </a:r>
            <a:r>
              <a:rPr lang="ru-RU" sz="1400" dirty="0" err="1">
                <a:solidFill>
                  <a:schemeClr val="tx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ДдТжҚТФБ</a:t>
            </a:r>
            <a:r>
              <a:rPr lang="ru-RU" sz="1400" dirty="0">
                <a:solidFill>
                  <a:schemeClr val="tx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solidFill>
                  <a:schemeClr val="tx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енгізу</a:t>
            </a:r>
            <a:r>
              <a:rPr lang="ru-RU" sz="1400" dirty="0">
                <a:solidFill>
                  <a:schemeClr val="tx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)</a:t>
            </a:r>
          </a:p>
        </p:txBody>
      </p:sp>
      <p:cxnSp>
        <p:nvCxnSpPr>
          <p:cNvPr id="49" name="Прямая соединительная линия 48">
            <a:extLst>
              <a:ext uri="{FF2B5EF4-FFF2-40B4-BE49-F238E27FC236}">
                <a16:creationId xmlns:a16="http://schemas.microsoft.com/office/drawing/2014/main" id="{975A6D91-7FF0-4811-9C20-7836736FD667}"/>
              </a:ext>
            </a:extLst>
          </p:cNvPr>
          <p:cNvCxnSpPr>
            <a:cxnSpLocks/>
          </p:cNvCxnSpPr>
          <p:nvPr/>
        </p:nvCxnSpPr>
        <p:spPr>
          <a:xfrm flipH="1">
            <a:off x="398391" y="4812153"/>
            <a:ext cx="10067651" cy="1"/>
          </a:xfrm>
          <a:prstGeom prst="line">
            <a:avLst/>
          </a:prstGeom>
          <a:ln w="25400">
            <a:solidFill>
              <a:schemeClr val="bg1">
                <a:lumMod val="85000"/>
              </a:schemeClr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Равнобедренный треугольник 49">
            <a:extLst>
              <a:ext uri="{FF2B5EF4-FFF2-40B4-BE49-F238E27FC236}">
                <a16:creationId xmlns:a16="http://schemas.microsoft.com/office/drawing/2014/main" id="{DDEFADDE-DBEA-404C-A59B-0A00303F8F53}"/>
              </a:ext>
            </a:extLst>
          </p:cNvPr>
          <p:cNvSpPr/>
          <p:nvPr/>
        </p:nvSpPr>
        <p:spPr>
          <a:xfrm rot="5400000">
            <a:off x="4873369" y="5603547"/>
            <a:ext cx="1325880" cy="228600"/>
          </a:xfrm>
          <a:prstGeom prst="triangle">
            <a:avLst/>
          </a:prstGeom>
          <a:solidFill>
            <a:srgbClr val="DEEB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1" name="Прямоугольник 50">
            <a:extLst>
              <a:ext uri="{FF2B5EF4-FFF2-40B4-BE49-F238E27FC236}">
                <a16:creationId xmlns:a16="http://schemas.microsoft.com/office/drawing/2014/main" id="{588DB5FA-8206-431E-A864-1920B8BF41A7}"/>
              </a:ext>
            </a:extLst>
          </p:cNvPr>
          <p:cNvSpPr/>
          <p:nvPr/>
        </p:nvSpPr>
        <p:spPr>
          <a:xfrm>
            <a:off x="6401512" y="2406775"/>
            <a:ext cx="1749197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200" b="1" dirty="0" err="1">
                <a:solidFill>
                  <a:srgbClr val="0F6FC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ерзімі</a:t>
            </a:r>
            <a:r>
              <a:rPr lang="ru-RU" sz="1200" b="1" dirty="0">
                <a:solidFill>
                  <a:srgbClr val="0F6FC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: </a:t>
            </a:r>
            <a:r>
              <a:rPr lang="en-US" sz="1200" b="1" dirty="0">
                <a:solidFill>
                  <a:srgbClr val="0F6FC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021-2022</a:t>
            </a:r>
            <a:endParaRPr lang="ru-RU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52" name="Прямоугольник 51">
            <a:extLst>
              <a:ext uri="{FF2B5EF4-FFF2-40B4-BE49-F238E27FC236}">
                <a16:creationId xmlns:a16="http://schemas.microsoft.com/office/drawing/2014/main" id="{588DB5FA-8206-431E-A864-1920B8BF41A7}"/>
              </a:ext>
            </a:extLst>
          </p:cNvPr>
          <p:cNvSpPr/>
          <p:nvPr/>
        </p:nvSpPr>
        <p:spPr>
          <a:xfrm>
            <a:off x="6295145" y="4520903"/>
            <a:ext cx="1749197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200" b="1" dirty="0" err="1">
                <a:solidFill>
                  <a:srgbClr val="0F6FC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ерзімі</a:t>
            </a:r>
            <a:r>
              <a:rPr lang="ru-RU" sz="1200" b="1" dirty="0">
                <a:solidFill>
                  <a:srgbClr val="0F6FC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: </a:t>
            </a:r>
            <a:r>
              <a:rPr lang="en-US" sz="1200" b="1" dirty="0">
                <a:solidFill>
                  <a:srgbClr val="0F6FC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021-2022</a:t>
            </a:r>
            <a:endParaRPr lang="ru-RU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endParaRPr lang="ru-RU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53" name="Прямоугольник 52">
            <a:extLst>
              <a:ext uri="{FF2B5EF4-FFF2-40B4-BE49-F238E27FC236}">
                <a16:creationId xmlns:a16="http://schemas.microsoft.com/office/drawing/2014/main" id="{588DB5FA-8206-431E-A864-1920B8BF41A7}"/>
              </a:ext>
            </a:extLst>
          </p:cNvPr>
          <p:cNvSpPr/>
          <p:nvPr/>
        </p:nvSpPr>
        <p:spPr>
          <a:xfrm>
            <a:off x="6129800" y="6747735"/>
            <a:ext cx="1749197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200" b="1" dirty="0" err="1">
                <a:solidFill>
                  <a:srgbClr val="0F6FC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ерзімі</a:t>
            </a:r>
            <a:r>
              <a:rPr lang="ru-RU" sz="1200" b="1" dirty="0">
                <a:solidFill>
                  <a:srgbClr val="0F6FC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:</a:t>
            </a:r>
            <a:r>
              <a:rPr lang="en-US" sz="1200" b="1" dirty="0">
                <a:solidFill>
                  <a:srgbClr val="0F6FC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2021-2022</a:t>
            </a:r>
            <a:endParaRPr lang="ru-RU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54" name="Прямоугольник 53">
            <a:extLst>
              <a:ext uri="{FF2B5EF4-FFF2-40B4-BE49-F238E27FC236}">
                <a16:creationId xmlns:a16="http://schemas.microsoft.com/office/drawing/2014/main" id="{2BA3BC63-DBFB-4CAB-A9E4-1935CFE533FF}"/>
              </a:ext>
            </a:extLst>
          </p:cNvPr>
          <p:cNvSpPr/>
          <p:nvPr/>
        </p:nvSpPr>
        <p:spPr>
          <a:xfrm>
            <a:off x="6357835" y="6165521"/>
            <a:ext cx="1314784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200" b="1" dirty="0" err="1">
                <a:solidFill>
                  <a:srgbClr val="0F6FC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ауаптылар</a:t>
            </a:r>
            <a:r>
              <a:rPr lang="ru-RU" sz="1200" b="1" dirty="0">
                <a:solidFill>
                  <a:srgbClr val="0F6FC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:</a:t>
            </a:r>
            <a:endParaRPr lang="ru-RU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cxnSp>
        <p:nvCxnSpPr>
          <p:cNvPr id="55" name="Прямая соединительная линия 54">
            <a:extLst>
              <a:ext uri="{FF2B5EF4-FFF2-40B4-BE49-F238E27FC236}">
                <a16:creationId xmlns:a16="http://schemas.microsoft.com/office/drawing/2014/main" id="{E3AF6081-F616-4A92-A881-90BCE3E0856B}"/>
              </a:ext>
            </a:extLst>
          </p:cNvPr>
          <p:cNvCxnSpPr>
            <a:cxnSpLocks/>
          </p:cNvCxnSpPr>
          <p:nvPr/>
        </p:nvCxnSpPr>
        <p:spPr>
          <a:xfrm>
            <a:off x="133087" y="1068121"/>
            <a:ext cx="9616853" cy="0"/>
          </a:xfrm>
          <a:prstGeom prst="line">
            <a:avLst/>
          </a:prstGeom>
          <a:ln w="25400">
            <a:solidFill>
              <a:schemeClr val="bg1">
                <a:lumMod val="85000"/>
              </a:schemeClr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7934556" y="6995072"/>
            <a:ext cx="2429947" cy="402483"/>
          </a:xfrm>
        </p:spPr>
        <p:txBody>
          <a:bodyPr/>
          <a:lstStyle/>
          <a:p>
            <a:r>
              <a:rPr lang="ru-RU" dirty="0"/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200103764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Прямоугольник 24"/>
          <p:cNvSpPr/>
          <p:nvPr/>
        </p:nvSpPr>
        <p:spPr>
          <a:xfrm>
            <a:off x="9175805" y="1606734"/>
            <a:ext cx="1550424" cy="82836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4783" b="1" dirty="0">
                <a:solidFill>
                  <a:schemeClr val="accent6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2</a:t>
            </a:r>
            <a:r>
              <a:rPr lang="en-US" sz="4783" b="1" dirty="0">
                <a:solidFill>
                  <a:schemeClr val="accent6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endParaRPr lang="ru-RU" sz="4783" b="1" dirty="0">
              <a:solidFill>
                <a:schemeClr val="accent6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Прямоугольник 23"/>
          <p:cNvSpPr/>
          <p:nvPr/>
        </p:nvSpPr>
        <p:spPr>
          <a:xfrm>
            <a:off x="-1914" y="6139085"/>
            <a:ext cx="2680542" cy="71942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4075" b="1" dirty="0"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18</a:t>
            </a:r>
            <a:r>
              <a:rPr lang="ru-RU" sz="4075" b="1" dirty="0"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-20</a:t>
            </a:r>
            <a:r>
              <a:rPr lang="en-US" sz="4075" b="1" dirty="0"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</a:t>
            </a:r>
            <a:endParaRPr lang="ru-RU" sz="4075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119" name="Object 11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68260" y="1542881"/>
          <a:ext cx="1036" cy="103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4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68260" y="1542881"/>
                        <a:ext cx="1036" cy="103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0" name="Двойная стрелка вверх/вниз 59"/>
          <p:cNvSpPr/>
          <p:nvPr/>
        </p:nvSpPr>
        <p:spPr>
          <a:xfrm rot="3366961">
            <a:off x="6550798" y="2365789"/>
            <a:ext cx="115783" cy="796250"/>
          </a:xfrm>
          <a:prstGeom prst="upDownArrow">
            <a:avLst/>
          </a:prstGeom>
          <a:gradFill flip="none" rotWithShape="1">
            <a:gsLst>
              <a:gs pos="0">
                <a:srgbClr val="0070C0">
                  <a:shade val="30000"/>
                  <a:satMod val="115000"/>
                </a:srgbClr>
              </a:gs>
              <a:gs pos="50000">
                <a:srgbClr val="0070C0">
                  <a:shade val="67500"/>
                  <a:satMod val="115000"/>
                </a:srgbClr>
              </a:gs>
              <a:gs pos="100000">
                <a:srgbClr val="0070C0">
                  <a:shade val="100000"/>
                  <a:satMod val="115000"/>
                </a:srgb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063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2" name="Двойная стрелка вверх/вниз 61"/>
          <p:cNvSpPr/>
          <p:nvPr/>
        </p:nvSpPr>
        <p:spPr>
          <a:xfrm rot="6035235">
            <a:off x="3212868" y="3276634"/>
            <a:ext cx="129998" cy="1001387"/>
          </a:xfrm>
          <a:prstGeom prst="upDownArrow">
            <a:avLst/>
          </a:prstGeom>
          <a:gradFill flip="none" rotWithShape="1">
            <a:gsLst>
              <a:gs pos="0">
                <a:srgbClr val="0070C0">
                  <a:shade val="30000"/>
                  <a:satMod val="115000"/>
                </a:srgbClr>
              </a:gs>
              <a:gs pos="50000">
                <a:srgbClr val="0070C0">
                  <a:shade val="67500"/>
                  <a:satMod val="115000"/>
                </a:srgbClr>
              </a:gs>
              <a:gs pos="100000">
                <a:srgbClr val="0070C0">
                  <a:shade val="100000"/>
                  <a:satMod val="115000"/>
                </a:srgb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063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4" name="Двойная стрелка вверх/вниз 73"/>
          <p:cNvSpPr/>
          <p:nvPr/>
        </p:nvSpPr>
        <p:spPr>
          <a:xfrm>
            <a:off x="5093771" y="2458527"/>
            <a:ext cx="126930" cy="416409"/>
          </a:xfrm>
          <a:prstGeom prst="upDownArrow">
            <a:avLst/>
          </a:prstGeom>
          <a:gradFill flip="none" rotWithShape="1">
            <a:gsLst>
              <a:gs pos="0">
                <a:srgbClr val="0070C0">
                  <a:shade val="30000"/>
                  <a:satMod val="115000"/>
                </a:srgbClr>
              </a:gs>
              <a:gs pos="50000">
                <a:srgbClr val="0070C0">
                  <a:shade val="67500"/>
                  <a:satMod val="115000"/>
                </a:srgbClr>
              </a:gs>
              <a:gs pos="100000">
                <a:srgbClr val="0070C0">
                  <a:shade val="100000"/>
                  <a:satMod val="115000"/>
                </a:srgb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063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5" name="Скругленный прямоугольник 74"/>
          <p:cNvSpPr/>
          <p:nvPr/>
        </p:nvSpPr>
        <p:spPr>
          <a:xfrm>
            <a:off x="2882967" y="6167968"/>
            <a:ext cx="1836674" cy="523035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ru-RU" sz="1240" b="1" dirty="0" err="1">
                <a:ln w="0"/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әрі-дәрмекпен</a:t>
            </a:r>
            <a:r>
              <a:rPr lang="ru-RU" sz="1240" b="1" dirty="0">
                <a:ln w="0"/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40" b="1" dirty="0" err="1">
                <a:ln w="0"/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мтамасыз</a:t>
            </a:r>
            <a:r>
              <a:rPr lang="ru-RU" sz="1240" b="1" dirty="0">
                <a:ln w="0"/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40" b="1" dirty="0" err="1">
                <a:ln w="0"/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ту</a:t>
            </a:r>
            <a:r>
              <a:rPr lang="ru-RU" sz="1240" b="1" dirty="0">
                <a:ln w="0"/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ХПА)</a:t>
            </a:r>
          </a:p>
        </p:txBody>
      </p:sp>
      <p:sp>
        <p:nvSpPr>
          <p:cNvPr id="77" name="Двойная стрелка вверх/вниз 76"/>
          <p:cNvSpPr/>
          <p:nvPr/>
        </p:nvSpPr>
        <p:spPr>
          <a:xfrm rot="2122675">
            <a:off x="4304083" y="5268016"/>
            <a:ext cx="149021" cy="911832"/>
          </a:xfrm>
          <a:prstGeom prst="upDownArrow">
            <a:avLst/>
          </a:prstGeom>
          <a:gradFill flip="none" rotWithShape="1">
            <a:gsLst>
              <a:gs pos="0">
                <a:srgbClr val="0070C0">
                  <a:shade val="30000"/>
                  <a:satMod val="115000"/>
                </a:srgbClr>
              </a:gs>
              <a:gs pos="50000">
                <a:srgbClr val="0070C0">
                  <a:shade val="67500"/>
                  <a:satMod val="115000"/>
                </a:srgbClr>
              </a:gs>
              <a:gs pos="100000">
                <a:srgbClr val="0070C0">
                  <a:shade val="100000"/>
                  <a:satMod val="115000"/>
                </a:srgb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063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5" name="Двойная стрелка вверх/вниз 84"/>
          <p:cNvSpPr/>
          <p:nvPr/>
        </p:nvSpPr>
        <p:spPr>
          <a:xfrm rot="5340000">
            <a:off x="7184772" y="3341558"/>
            <a:ext cx="107405" cy="1166742"/>
          </a:xfrm>
          <a:prstGeom prst="upDownArrow">
            <a:avLst/>
          </a:prstGeom>
          <a:gradFill flip="none" rotWithShape="1">
            <a:gsLst>
              <a:gs pos="0">
                <a:srgbClr val="0070C0">
                  <a:shade val="30000"/>
                  <a:satMod val="115000"/>
                </a:srgbClr>
              </a:gs>
              <a:gs pos="50000">
                <a:srgbClr val="0070C0">
                  <a:shade val="67500"/>
                  <a:satMod val="115000"/>
                </a:srgbClr>
              </a:gs>
              <a:gs pos="100000">
                <a:srgbClr val="0070C0">
                  <a:shade val="100000"/>
                  <a:satMod val="115000"/>
                </a:srgb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063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8" name="Скругленный прямоугольник 87"/>
          <p:cNvSpPr/>
          <p:nvPr/>
        </p:nvSpPr>
        <p:spPr>
          <a:xfrm>
            <a:off x="1388934" y="2366129"/>
            <a:ext cx="1998874" cy="707787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ru-RU" sz="1063" b="1" dirty="0" err="1">
                <a:ln w="0"/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ациенттің</a:t>
            </a:r>
            <a:r>
              <a:rPr lang="ru-RU" sz="1063" b="1" dirty="0">
                <a:ln w="0"/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63" b="1" dirty="0" err="1">
                <a:ln w="0"/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енсаулық</a:t>
            </a:r>
            <a:r>
              <a:rPr lang="ru-RU" sz="1063" b="1" dirty="0">
                <a:ln w="0"/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63" b="1" dirty="0" err="1">
                <a:ln w="0"/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ағдайын</a:t>
            </a:r>
            <a:r>
              <a:rPr lang="ru-RU" sz="1063" b="1" dirty="0">
                <a:ln w="0"/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63" b="1" dirty="0" err="1">
                <a:ln w="0"/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шықтан</a:t>
            </a:r>
            <a:r>
              <a:rPr lang="ru-RU" sz="1063" b="1" dirty="0">
                <a:ln w="0"/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63" b="1" dirty="0" err="1">
                <a:ln w="0"/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ониторингтеу</a:t>
            </a:r>
            <a:endParaRPr lang="ru-RU" sz="1063" b="1" dirty="0">
              <a:ln w="0"/>
              <a:solidFill>
                <a:schemeClr val="accent5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9" name="Скругленный прямоугольник 88"/>
          <p:cNvSpPr/>
          <p:nvPr/>
        </p:nvSpPr>
        <p:spPr>
          <a:xfrm>
            <a:off x="8857412" y="5595089"/>
            <a:ext cx="1892702" cy="367296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240" b="1" dirty="0">
                <a:ln w="0"/>
                <a:solidFill>
                  <a:schemeClr val="accent6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Ж, РАЖ, </a:t>
            </a:r>
          </a:p>
          <a:p>
            <a:pPr algn="ctr"/>
            <a:r>
              <a:rPr lang="en-US" sz="1240" b="1" dirty="0">
                <a:ln w="0"/>
                <a:solidFill>
                  <a:schemeClr val="accent6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CS, ERP</a:t>
            </a:r>
            <a:endParaRPr lang="ru-RU" sz="1240" b="1" dirty="0">
              <a:ln w="0"/>
              <a:solidFill>
                <a:schemeClr val="accent6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0" name="Скругленный прямоугольник 89"/>
          <p:cNvSpPr/>
          <p:nvPr/>
        </p:nvSpPr>
        <p:spPr>
          <a:xfrm>
            <a:off x="7784628" y="5145801"/>
            <a:ext cx="617467" cy="311172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240" b="1" dirty="0">
                <a:ln w="0"/>
                <a:solidFill>
                  <a:schemeClr val="accent6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АЖ</a:t>
            </a:r>
          </a:p>
        </p:txBody>
      </p:sp>
      <p:sp>
        <p:nvSpPr>
          <p:cNvPr id="91" name="Двойная стрелка вверх/вниз 90"/>
          <p:cNvSpPr/>
          <p:nvPr/>
        </p:nvSpPr>
        <p:spPr>
          <a:xfrm rot="6207855">
            <a:off x="8786324" y="4901840"/>
            <a:ext cx="121001" cy="565172"/>
          </a:xfrm>
          <a:prstGeom prst="upDownArrow">
            <a:avLst/>
          </a:prstGeom>
          <a:gradFill flip="none" rotWithShape="1">
            <a:gsLst>
              <a:gs pos="0">
                <a:srgbClr val="0070C0">
                  <a:shade val="30000"/>
                  <a:satMod val="115000"/>
                </a:srgbClr>
              </a:gs>
              <a:gs pos="50000">
                <a:srgbClr val="0070C0">
                  <a:shade val="67500"/>
                  <a:satMod val="115000"/>
                </a:srgbClr>
              </a:gs>
              <a:gs pos="100000">
                <a:srgbClr val="0070C0">
                  <a:shade val="100000"/>
                  <a:satMod val="115000"/>
                </a:srgb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063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2" name="Скругленный прямоугольник 91"/>
          <p:cNvSpPr/>
          <p:nvPr/>
        </p:nvSpPr>
        <p:spPr>
          <a:xfrm>
            <a:off x="7830829" y="3723189"/>
            <a:ext cx="1608310" cy="341273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ru-RU" sz="1240" b="1" dirty="0" err="1">
                <a:ln w="0"/>
                <a:solidFill>
                  <a:schemeClr val="accent6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иртуалды</a:t>
            </a:r>
            <a:endParaRPr lang="ru-RU" sz="1240" b="1" dirty="0">
              <a:ln w="0"/>
              <a:solidFill>
                <a:schemeClr val="accent6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240" b="1" dirty="0" err="1">
                <a:ln w="0"/>
                <a:solidFill>
                  <a:schemeClr val="accent6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олықтырылған</a:t>
            </a:r>
            <a:endParaRPr lang="ru-RU" sz="1240" b="1" dirty="0">
              <a:ln w="0"/>
              <a:solidFill>
                <a:schemeClr val="accent6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240" b="1" dirty="0" err="1">
                <a:ln w="0"/>
                <a:solidFill>
                  <a:schemeClr val="accent6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ындық</a:t>
            </a:r>
            <a:endParaRPr lang="ru-RU" sz="1240" b="1" dirty="0">
              <a:ln w="0"/>
              <a:solidFill>
                <a:schemeClr val="accent6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3" name="Скругленный прямоугольник 92"/>
          <p:cNvSpPr/>
          <p:nvPr/>
        </p:nvSpPr>
        <p:spPr>
          <a:xfrm>
            <a:off x="7633323" y="6403255"/>
            <a:ext cx="1805816" cy="316439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240" b="1" dirty="0" err="1">
                <a:ln w="0"/>
                <a:solidFill>
                  <a:schemeClr val="accent6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асанды</a:t>
            </a:r>
            <a:r>
              <a:rPr lang="ru-RU" sz="1240" b="1" dirty="0">
                <a:ln w="0"/>
                <a:solidFill>
                  <a:schemeClr val="accent6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интеллект</a:t>
            </a:r>
          </a:p>
        </p:txBody>
      </p:sp>
      <p:sp>
        <p:nvSpPr>
          <p:cNvPr id="95" name="Скругленный прямоугольник 94"/>
          <p:cNvSpPr/>
          <p:nvPr/>
        </p:nvSpPr>
        <p:spPr>
          <a:xfrm>
            <a:off x="3163771" y="2042847"/>
            <a:ext cx="1591634" cy="316439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ru-RU" sz="1240" b="1" dirty="0" err="1">
                <a:ln w="0"/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әрігердің</a:t>
            </a:r>
            <a:r>
              <a:rPr lang="ru-RU" sz="1240" b="1" dirty="0">
                <a:ln w="0"/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40" b="1" dirty="0" err="1">
                <a:ln w="0"/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еке</a:t>
            </a:r>
            <a:r>
              <a:rPr lang="ru-RU" sz="1240" b="1" dirty="0">
                <a:ln w="0"/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40" b="1" dirty="0" err="1">
                <a:ln w="0"/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абинеті</a:t>
            </a:r>
            <a:endParaRPr lang="ru-RU" sz="1240" b="1" dirty="0">
              <a:ln w="0"/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6" name="Скругленный прямоугольник 95"/>
          <p:cNvSpPr/>
          <p:nvPr/>
        </p:nvSpPr>
        <p:spPr>
          <a:xfrm>
            <a:off x="6878726" y="1903181"/>
            <a:ext cx="1591634" cy="666474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ru-RU" sz="1240" b="1" dirty="0" err="1">
                <a:ln w="0"/>
                <a:solidFill>
                  <a:schemeClr val="accent6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әрігерлердің</a:t>
            </a:r>
            <a:endParaRPr lang="ru-RU" sz="1240" b="1" dirty="0">
              <a:ln w="0"/>
              <a:solidFill>
                <a:schemeClr val="accent6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240" b="1" dirty="0" err="1">
                <a:ln w="0"/>
                <a:solidFill>
                  <a:schemeClr val="accent6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йтингтік</a:t>
            </a:r>
            <a:r>
              <a:rPr lang="ru-RU" sz="1240" b="1" dirty="0">
                <a:ln w="0"/>
                <a:solidFill>
                  <a:schemeClr val="accent6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40" b="1" dirty="0" err="1">
                <a:ln w="0"/>
                <a:solidFill>
                  <a:schemeClr val="accent6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үйесі</a:t>
            </a:r>
            <a:endParaRPr lang="ru-RU" sz="1240" b="1" dirty="0">
              <a:ln w="0"/>
              <a:solidFill>
                <a:schemeClr val="accent6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9" name="Двойная стрелка вверх/вниз 98"/>
          <p:cNvSpPr/>
          <p:nvPr/>
        </p:nvSpPr>
        <p:spPr>
          <a:xfrm rot="6988187">
            <a:off x="6936352" y="4245188"/>
            <a:ext cx="145913" cy="808041"/>
          </a:xfrm>
          <a:prstGeom prst="upDownArrow">
            <a:avLst/>
          </a:prstGeom>
          <a:gradFill flip="none" rotWithShape="1">
            <a:gsLst>
              <a:gs pos="0">
                <a:srgbClr val="0070C0">
                  <a:shade val="30000"/>
                  <a:satMod val="115000"/>
                </a:srgbClr>
              </a:gs>
              <a:gs pos="50000">
                <a:srgbClr val="0070C0">
                  <a:shade val="67500"/>
                  <a:satMod val="115000"/>
                </a:srgbClr>
              </a:gs>
              <a:gs pos="100000">
                <a:srgbClr val="0070C0">
                  <a:shade val="100000"/>
                  <a:satMod val="115000"/>
                </a:srgb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063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0" name="Двойная стрелка вверх/вниз 99"/>
          <p:cNvSpPr/>
          <p:nvPr/>
        </p:nvSpPr>
        <p:spPr>
          <a:xfrm rot="7555777">
            <a:off x="6494454" y="5118683"/>
            <a:ext cx="158916" cy="952812"/>
          </a:xfrm>
          <a:prstGeom prst="upDownArrow">
            <a:avLst/>
          </a:prstGeom>
          <a:gradFill flip="none" rotWithShape="1">
            <a:gsLst>
              <a:gs pos="0">
                <a:srgbClr val="0070C0">
                  <a:shade val="30000"/>
                  <a:satMod val="115000"/>
                </a:srgbClr>
              </a:gs>
              <a:gs pos="50000">
                <a:srgbClr val="0070C0">
                  <a:shade val="67500"/>
                  <a:satMod val="115000"/>
                </a:srgbClr>
              </a:gs>
              <a:gs pos="100000">
                <a:srgbClr val="0070C0">
                  <a:shade val="100000"/>
                  <a:satMod val="115000"/>
                </a:srgb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063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3" name="Двойная стрелка вверх/вниз 102"/>
          <p:cNvSpPr/>
          <p:nvPr/>
        </p:nvSpPr>
        <p:spPr>
          <a:xfrm rot="10800000">
            <a:off x="5142977" y="5456973"/>
            <a:ext cx="220219" cy="710994"/>
          </a:xfrm>
          <a:prstGeom prst="upDownArrow">
            <a:avLst/>
          </a:prstGeom>
          <a:gradFill flip="none" rotWithShape="1">
            <a:gsLst>
              <a:gs pos="0">
                <a:srgbClr val="0070C0">
                  <a:shade val="30000"/>
                  <a:satMod val="115000"/>
                </a:srgbClr>
              </a:gs>
              <a:gs pos="50000">
                <a:srgbClr val="0070C0">
                  <a:shade val="67500"/>
                  <a:satMod val="115000"/>
                </a:srgbClr>
              </a:gs>
              <a:gs pos="100000">
                <a:srgbClr val="0070C0">
                  <a:shade val="100000"/>
                  <a:satMod val="115000"/>
                </a:srgb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063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4" name="Двойная стрелка вверх/вниз 103"/>
          <p:cNvSpPr/>
          <p:nvPr/>
        </p:nvSpPr>
        <p:spPr>
          <a:xfrm rot="18632534">
            <a:off x="4132638" y="2435855"/>
            <a:ext cx="113498" cy="605232"/>
          </a:xfrm>
          <a:prstGeom prst="upDownArrow">
            <a:avLst/>
          </a:prstGeom>
          <a:gradFill flip="none" rotWithShape="1">
            <a:gsLst>
              <a:gs pos="0">
                <a:srgbClr val="0070C0">
                  <a:shade val="30000"/>
                  <a:satMod val="115000"/>
                </a:srgbClr>
              </a:gs>
              <a:gs pos="50000">
                <a:srgbClr val="0070C0">
                  <a:shade val="67500"/>
                  <a:satMod val="115000"/>
                </a:srgbClr>
              </a:gs>
              <a:gs pos="100000">
                <a:srgbClr val="0070C0">
                  <a:shade val="100000"/>
                  <a:satMod val="115000"/>
                </a:srgb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063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5" name="Двойная стрелка вверх/вниз 104"/>
          <p:cNvSpPr/>
          <p:nvPr/>
        </p:nvSpPr>
        <p:spPr>
          <a:xfrm rot="17790135">
            <a:off x="3447016" y="2704520"/>
            <a:ext cx="108032" cy="969078"/>
          </a:xfrm>
          <a:prstGeom prst="upDownArrow">
            <a:avLst>
              <a:gd name="adj1" fmla="val 57719"/>
              <a:gd name="adj2" fmla="val 50000"/>
            </a:avLst>
          </a:prstGeom>
          <a:gradFill flip="none" rotWithShape="1">
            <a:gsLst>
              <a:gs pos="0">
                <a:srgbClr val="0070C0">
                  <a:shade val="30000"/>
                  <a:satMod val="115000"/>
                </a:srgbClr>
              </a:gs>
              <a:gs pos="50000">
                <a:srgbClr val="0070C0">
                  <a:shade val="67500"/>
                  <a:satMod val="115000"/>
                </a:srgbClr>
              </a:gs>
              <a:gs pos="100000">
                <a:srgbClr val="0070C0">
                  <a:shade val="100000"/>
                  <a:satMod val="115000"/>
                </a:srgb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063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6" name="Скругленный прямоугольник 105"/>
          <p:cNvSpPr/>
          <p:nvPr/>
        </p:nvSpPr>
        <p:spPr>
          <a:xfrm>
            <a:off x="1189426" y="3378728"/>
            <a:ext cx="1591634" cy="666474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ru-RU" sz="1240" b="1" dirty="0" err="1">
                <a:ln w="0"/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обильдік</a:t>
            </a:r>
            <a:r>
              <a:rPr lang="ru-RU" sz="1240" b="1" dirty="0">
                <a:ln w="0"/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40" b="1" dirty="0" err="1">
                <a:ln w="0"/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осымшалар</a:t>
            </a:r>
            <a:endParaRPr lang="ru-RU" sz="1240" b="1" dirty="0">
              <a:ln w="0"/>
              <a:solidFill>
                <a:schemeClr val="accent5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7" name="Двойная стрелка вверх/вниз 106"/>
          <p:cNvSpPr/>
          <p:nvPr/>
        </p:nvSpPr>
        <p:spPr>
          <a:xfrm rot="4277711">
            <a:off x="3363537" y="4020044"/>
            <a:ext cx="148470" cy="1074777"/>
          </a:xfrm>
          <a:prstGeom prst="upDownArrow">
            <a:avLst/>
          </a:prstGeom>
          <a:gradFill flip="none" rotWithShape="1">
            <a:gsLst>
              <a:gs pos="0">
                <a:srgbClr val="0070C0">
                  <a:shade val="30000"/>
                  <a:satMod val="115000"/>
                </a:srgbClr>
              </a:gs>
              <a:gs pos="50000">
                <a:srgbClr val="0070C0">
                  <a:shade val="67500"/>
                  <a:satMod val="115000"/>
                </a:srgbClr>
              </a:gs>
              <a:gs pos="100000">
                <a:srgbClr val="0070C0">
                  <a:shade val="100000"/>
                  <a:satMod val="115000"/>
                </a:srgb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063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9" name="Скругленный прямоугольник 108"/>
          <p:cNvSpPr/>
          <p:nvPr/>
        </p:nvSpPr>
        <p:spPr>
          <a:xfrm>
            <a:off x="1359963" y="4415383"/>
            <a:ext cx="1591634" cy="666474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240" b="1" dirty="0">
                <a:ln w="0"/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лемедицина</a:t>
            </a:r>
          </a:p>
        </p:txBody>
      </p:sp>
      <p:sp>
        <p:nvSpPr>
          <p:cNvPr id="110" name="Двойная стрелка вверх/вниз 109"/>
          <p:cNvSpPr/>
          <p:nvPr/>
        </p:nvSpPr>
        <p:spPr>
          <a:xfrm rot="3610396">
            <a:off x="3572262" y="4692688"/>
            <a:ext cx="153896" cy="1074777"/>
          </a:xfrm>
          <a:prstGeom prst="upDownArrow">
            <a:avLst/>
          </a:prstGeom>
          <a:gradFill flip="none" rotWithShape="1">
            <a:gsLst>
              <a:gs pos="0">
                <a:srgbClr val="0070C0">
                  <a:shade val="30000"/>
                  <a:satMod val="115000"/>
                </a:srgbClr>
              </a:gs>
              <a:gs pos="50000">
                <a:srgbClr val="0070C0">
                  <a:shade val="67500"/>
                  <a:satMod val="115000"/>
                </a:srgbClr>
              </a:gs>
              <a:gs pos="100000">
                <a:srgbClr val="0070C0">
                  <a:shade val="100000"/>
                  <a:satMod val="115000"/>
                </a:srgb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063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1" name="Скругленный прямоугольник 110"/>
          <p:cNvSpPr/>
          <p:nvPr/>
        </p:nvSpPr>
        <p:spPr>
          <a:xfrm>
            <a:off x="1527980" y="5295911"/>
            <a:ext cx="1591634" cy="666474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ru-RU" sz="1240" b="1" dirty="0" err="1">
                <a:ln w="0"/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едел</a:t>
            </a:r>
            <a:r>
              <a:rPr lang="ru-RU" sz="1240" b="1" dirty="0">
                <a:ln w="0"/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40" b="1" dirty="0" err="1">
                <a:ln w="0"/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әрдем</a:t>
            </a:r>
            <a:r>
              <a:rPr lang="ru-RU" sz="1240" b="1" dirty="0">
                <a:ln w="0"/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40" b="1" dirty="0" err="1">
                <a:ln w="0"/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ызметі</a:t>
            </a:r>
            <a:endParaRPr lang="ru-RU" sz="1240" b="1" dirty="0">
              <a:ln w="0"/>
              <a:solidFill>
                <a:schemeClr val="accent5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13" name="Рисунок 112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19641" y="3541305"/>
            <a:ext cx="1261254" cy="1261254"/>
          </a:xfrm>
          <a:prstGeom prst="rect">
            <a:avLst/>
          </a:prstGeom>
        </p:spPr>
      </p:pic>
      <p:sp>
        <p:nvSpPr>
          <p:cNvPr id="116" name="TextBox 115"/>
          <p:cNvSpPr txBox="1"/>
          <p:nvPr/>
        </p:nvSpPr>
        <p:spPr>
          <a:xfrm>
            <a:off x="5479737" y="1988049"/>
            <a:ext cx="1265667" cy="47397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k-KZ" sz="1240" b="1" dirty="0">
                <a:latin typeface="Arial" panose="020B0604020202020204" pitchFamily="34" charset="0"/>
                <a:cs typeface="Arial" panose="020B0604020202020204" pitchFamily="34" charset="0"/>
              </a:rPr>
              <a:t>Науқастың</a:t>
            </a:r>
            <a:endParaRPr lang="ru-RU" sz="124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kk-KZ" sz="1240" b="1" dirty="0">
                <a:latin typeface="Arial" panose="020B0604020202020204" pitchFamily="34" charset="0"/>
                <a:cs typeface="Arial" panose="020B0604020202020204" pitchFamily="34" charset="0"/>
              </a:rPr>
              <a:t>жеке кабинеті</a:t>
            </a:r>
          </a:p>
        </p:txBody>
      </p:sp>
      <p:pic>
        <p:nvPicPr>
          <p:cNvPr id="117" name="Рисунок 116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2587383" y="1747334"/>
            <a:ext cx="670763" cy="670763"/>
          </a:xfrm>
          <a:prstGeom prst="rect">
            <a:avLst/>
          </a:prstGeom>
        </p:spPr>
      </p:pic>
      <p:pic>
        <p:nvPicPr>
          <p:cNvPr id="118" name="Рисунок 117"/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747" t="32386" r="31925" b="43058"/>
          <a:stretch/>
        </p:blipFill>
        <p:spPr>
          <a:xfrm>
            <a:off x="4703307" y="6126052"/>
            <a:ext cx="1037853" cy="1020411"/>
          </a:xfrm>
          <a:prstGeom prst="rect">
            <a:avLst/>
          </a:prstGeom>
        </p:spPr>
      </p:pic>
      <p:sp>
        <p:nvSpPr>
          <p:cNvPr id="120" name="Скругленный прямоугольник 119"/>
          <p:cNvSpPr/>
          <p:nvPr/>
        </p:nvSpPr>
        <p:spPr>
          <a:xfrm>
            <a:off x="5638447" y="6589829"/>
            <a:ext cx="1634550" cy="461086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ru-RU" sz="1240" b="1" dirty="0" err="1">
                <a:ln w="0"/>
                <a:solidFill>
                  <a:schemeClr val="accent6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дициналық</a:t>
            </a:r>
            <a:r>
              <a:rPr lang="ru-RU" sz="1240" b="1" dirty="0">
                <a:ln w="0"/>
                <a:solidFill>
                  <a:schemeClr val="accent6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40" b="1" dirty="0" err="1">
                <a:ln w="0"/>
                <a:solidFill>
                  <a:schemeClr val="accent6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қтандыру</a:t>
            </a:r>
            <a:endParaRPr lang="ru-RU" sz="1240" b="1" dirty="0">
              <a:ln w="0"/>
              <a:solidFill>
                <a:schemeClr val="accent6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21" name="Рисунок 120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5525" y="3164874"/>
            <a:ext cx="700970" cy="700970"/>
          </a:xfrm>
          <a:prstGeom prst="rect">
            <a:avLst/>
          </a:prstGeom>
        </p:spPr>
      </p:pic>
      <p:pic>
        <p:nvPicPr>
          <p:cNvPr id="123" name="Рисунок 122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35750" y="5691101"/>
            <a:ext cx="513076" cy="513076"/>
          </a:xfrm>
          <a:prstGeom prst="rect">
            <a:avLst/>
          </a:prstGeom>
        </p:spPr>
      </p:pic>
      <p:pic>
        <p:nvPicPr>
          <p:cNvPr id="124" name="Рисунок 123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41891" y="1676211"/>
            <a:ext cx="714379" cy="714379"/>
          </a:xfrm>
          <a:prstGeom prst="rect">
            <a:avLst/>
          </a:prstGeom>
        </p:spPr>
      </p:pic>
      <p:pic>
        <p:nvPicPr>
          <p:cNvPr id="125" name="Рисунок 124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5918" y="4172151"/>
            <a:ext cx="709733" cy="709733"/>
          </a:xfrm>
          <a:prstGeom prst="rect">
            <a:avLst/>
          </a:prstGeom>
        </p:spPr>
      </p:pic>
      <p:pic>
        <p:nvPicPr>
          <p:cNvPr id="126" name="Рисунок 125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676291" y="5081857"/>
            <a:ext cx="888988" cy="888988"/>
          </a:xfrm>
          <a:prstGeom prst="rect">
            <a:avLst/>
          </a:prstGeom>
        </p:spPr>
      </p:pic>
      <p:grpSp>
        <p:nvGrpSpPr>
          <p:cNvPr id="129" name="Группа 128"/>
          <p:cNvGrpSpPr/>
          <p:nvPr/>
        </p:nvGrpSpPr>
        <p:grpSpPr>
          <a:xfrm>
            <a:off x="8178034" y="1770671"/>
            <a:ext cx="775608" cy="775608"/>
            <a:chOff x="3134963" y="6077863"/>
            <a:chExt cx="647070" cy="647070"/>
          </a:xfrm>
        </p:grpSpPr>
        <p:pic>
          <p:nvPicPr>
            <p:cNvPr id="130" name="Рисунок 129"/>
            <p:cNvPicPr>
              <a:picLocks noChangeAspect="1"/>
            </p:cNvPicPr>
            <p:nvPr/>
          </p:nvPicPr>
          <p:blipFill>
            <a:blip r:embed="rId1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34963" y="6077863"/>
              <a:ext cx="647070" cy="647070"/>
            </a:xfrm>
            <a:prstGeom prst="rect">
              <a:avLst/>
            </a:prstGeom>
          </p:spPr>
        </p:pic>
        <p:sp>
          <p:nvSpPr>
            <p:cNvPr id="131" name="Овал 130"/>
            <p:cNvSpPr/>
            <p:nvPr/>
          </p:nvSpPr>
          <p:spPr>
            <a:xfrm>
              <a:off x="3271570" y="6120556"/>
              <a:ext cx="376196" cy="376196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594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132" name="Рисунок 131"/>
            <p:cNvPicPr>
              <a:picLocks noChangeAspect="1"/>
            </p:cNvPicPr>
            <p:nvPr/>
          </p:nvPicPr>
          <p:blipFill>
            <a:blip r:embed="rId1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3288324" y="6156403"/>
              <a:ext cx="340348" cy="340348"/>
            </a:xfrm>
            <a:prstGeom prst="ellipse">
              <a:avLst/>
            </a:prstGeom>
          </p:spPr>
        </p:pic>
      </p:grpSp>
      <p:pic>
        <p:nvPicPr>
          <p:cNvPr id="133" name="Рисунок 132"/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17412" y="3576612"/>
            <a:ext cx="799913" cy="799913"/>
          </a:xfrm>
          <a:prstGeom prst="rect">
            <a:avLst/>
          </a:prstGeom>
        </p:spPr>
      </p:pic>
      <p:pic>
        <p:nvPicPr>
          <p:cNvPr id="134" name="Рисунок 133"/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22681" y="6041728"/>
            <a:ext cx="692747" cy="692747"/>
          </a:xfrm>
          <a:prstGeom prst="rect">
            <a:avLst/>
          </a:prstGeom>
        </p:spPr>
      </p:pic>
      <p:pic>
        <p:nvPicPr>
          <p:cNvPr id="135" name="Рисунок 134"/>
          <p:cNvPicPr>
            <a:picLocks noChangeAspect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31208" y="4799601"/>
            <a:ext cx="1022209" cy="741819"/>
          </a:xfrm>
          <a:prstGeom prst="rect">
            <a:avLst/>
          </a:prstGeom>
        </p:spPr>
      </p:pic>
      <p:pic>
        <p:nvPicPr>
          <p:cNvPr id="137" name="Рисунок 136"/>
          <p:cNvPicPr>
            <a:picLocks noChangeAspect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9466" y="2147277"/>
            <a:ext cx="864156" cy="864156"/>
          </a:xfrm>
          <a:prstGeom prst="rect">
            <a:avLst/>
          </a:prstGeom>
        </p:spPr>
      </p:pic>
      <p:sp>
        <p:nvSpPr>
          <p:cNvPr id="138" name="Овал 137"/>
          <p:cNvSpPr/>
          <p:nvPr/>
        </p:nvSpPr>
        <p:spPr>
          <a:xfrm>
            <a:off x="1238598" y="4201442"/>
            <a:ext cx="43408" cy="43408"/>
          </a:xfrm>
          <a:prstGeom prst="ellipse">
            <a:avLst/>
          </a:prstGeom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594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41" name="Рисунок 140"/>
          <p:cNvPicPr>
            <a:picLocks noChangeAspect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34048" y="1647240"/>
            <a:ext cx="734567" cy="519400"/>
          </a:xfrm>
          <a:prstGeom prst="rect">
            <a:avLst/>
          </a:prstGeom>
        </p:spPr>
      </p:pic>
      <p:sp>
        <p:nvSpPr>
          <p:cNvPr id="55" name="Двойная стрелка вверх/вниз 54"/>
          <p:cNvSpPr/>
          <p:nvPr/>
        </p:nvSpPr>
        <p:spPr>
          <a:xfrm rot="4500000">
            <a:off x="6995813" y="2789668"/>
            <a:ext cx="140687" cy="981521"/>
          </a:xfrm>
          <a:prstGeom prst="upDownArrow">
            <a:avLst/>
          </a:prstGeom>
          <a:gradFill flip="none" rotWithShape="1">
            <a:gsLst>
              <a:gs pos="0">
                <a:srgbClr val="0070C0">
                  <a:shade val="30000"/>
                  <a:satMod val="115000"/>
                </a:srgbClr>
              </a:gs>
              <a:gs pos="50000">
                <a:srgbClr val="0070C0">
                  <a:shade val="67500"/>
                  <a:satMod val="115000"/>
                </a:srgbClr>
              </a:gs>
              <a:gs pos="100000">
                <a:srgbClr val="0070C0">
                  <a:shade val="100000"/>
                  <a:satMod val="115000"/>
                </a:srgb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063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07062" y="2755802"/>
            <a:ext cx="664154" cy="664154"/>
          </a:xfrm>
          <a:prstGeom prst="rect">
            <a:avLst/>
          </a:prstGeom>
        </p:spPr>
      </p:pic>
      <p:sp>
        <p:nvSpPr>
          <p:cNvPr id="57" name="Скругленный прямоугольник 56"/>
          <p:cNvSpPr/>
          <p:nvPr/>
        </p:nvSpPr>
        <p:spPr>
          <a:xfrm>
            <a:off x="7711534" y="2949981"/>
            <a:ext cx="1457204" cy="316439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ru-RU" sz="1240" b="1" dirty="0" err="1">
                <a:ln w="0"/>
                <a:solidFill>
                  <a:schemeClr val="accent6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енсаулыққа</a:t>
            </a:r>
            <a:r>
              <a:rPr lang="ru-RU" sz="1240" b="1" dirty="0">
                <a:ln w="0"/>
                <a:solidFill>
                  <a:schemeClr val="accent6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40" b="1" dirty="0" err="1">
                <a:ln w="0"/>
                <a:solidFill>
                  <a:schemeClr val="accent6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рналған</a:t>
            </a:r>
            <a:r>
              <a:rPr lang="ru-RU" sz="1240" b="1" dirty="0">
                <a:ln w="0"/>
                <a:solidFill>
                  <a:schemeClr val="accent6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40" b="1" dirty="0" err="1">
                <a:ln w="0"/>
                <a:solidFill>
                  <a:schemeClr val="accent6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аджеттер</a:t>
            </a:r>
            <a:endParaRPr lang="ru-RU" sz="1240" b="1" dirty="0">
              <a:ln w="0"/>
              <a:solidFill>
                <a:schemeClr val="accent6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63" name="Рисунок 62"/>
          <p:cNvPicPr>
            <a:picLocks noChangeAspect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236" y="353579"/>
            <a:ext cx="637055" cy="657077"/>
          </a:xfrm>
          <a:prstGeom prst="rect">
            <a:avLst/>
          </a:prstGeom>
        </p:spPr>
      </p:pic>
      <p:pic>
        <p:nvPicPr>
          <p:cNvPr id="66" name="Рисунок 65"/>
          <p:cNvPicPr>
            <a:picLocks noChangeAspect="1"/>
          </p:cNvPicPr>
          <p:nvPr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91903" y="4488511"/>
            <a:ext cx="637781" cy="637781"/>
          </a:xfrm>
          <a:prstGeom prst="rect">
            <a:avLst/>
          </a:prstGeom>
        </p:spPr>
      </p:pic>
      <p:sp>
        <p:nvSpPr>
          <p:cNvPr id="3" name="Прямоугольник 2"/>
          <p:cNvSpPr/>
          <p:nvPr/>
        </p:nvSpPr>
        <p:spPr>
          <a:xfrm>
            <a:off x="4180118" y="3167274"/>
            <a:ext cx="2206053" cy="38869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indent="-303741" algn="ctr">
              <a:lnSpc>
                <a:spcPct val="107000"/>
              </a:lnSpc>
              <a:spcAft>
                <a:spcPts val="709"/>
              </a:spcAft>
            </a:pPr>
            <a:r>
              <a:rPr lang="en-US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EHealth </a:t>
            </a:r>
            <a:r>
              <a:rPr lang="ru-RU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ЯДРОСЫ</a:t>
            </a:r>
          </a:p>
        </p:txBody>
      </p:sp>
      <p:cxnSp>
        <p:nvCxnSpPr>
          <p:cNvPr id="64" name="Прямая соединительная линия 63">
            <a:extLst>
              <a:ext uri="{FF2B5EF4-FFF2-40B4-BE49-F238E27FC236}">
                <a16:creationId xmlns:a16="http://schemas.microsoft.com/office/drawing/2014/main" id="{E3AF6081-F616-4A92-A881-90BCE3E0856B}"/>
              </a:ext>
            </a:extLst>
          </p:cNvPr>
          <p:cNvCxnSpPr>
            <a:cxnSpLocks/>
          </p:cNvCxnSpPr>
          <p:nvPr/>
        </p:nvCxnSpPr>
        <p:spPr>
          <a:xfrm>
            <a:off x="941640" y="1211487"/>
            <a:ext cx="9616853" cy="0"/>
          </a:xfrm>
          <a:prstGeom prst="line">
            <a:avLst/>
          </a:prstGeom>
          <a:ln w="25400">
            <a:solidFill>
              <a:schemeClr val="bg1">
                <a:lumMod val="85000"/>
              </a:schemeClr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Прямоугольник 64">
            <a:extLst>
              <a:ext uri="{FF2B5EF4-FFF2-40B4-BE49-F238E27FC236}">
                <a16:creationId xmlns:a16="http://schemas.microsoft.com/office/drawing/2014/main" id="{D39A38EB-FBA3-4EF6-89C8-6EDBD8C88366}"/>
              </a:ext>
            </a:extLst>
          </p:cNvPr>
          <p:cNvSpPr/>
          <p:nvPr/>
        </p:nvSpPr>
        <p:spPr>
          <a:xfrm>
            <a:off x="979997" y="229295"/>
            <a:ext cx="10001796" cy="82069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0749" tIns="30374" rIns="60749" bIns="30374" rtlCol="0" anchor="ctr"/>
          <a:lstStyle/>
          <a:p>
            <a:r>
              <a:rPr lang="ru-RU" sz="26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ЕНСАУЛЫҚ САҚТАУДЫ ЦИФРЛАНДЫРУДЫҢ </a:t>
            </a:r>
          </a:p>
          <a:p>
            <a:r>
              <a:rPr lang="ru-RU" sz="26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АҚСАТТЫ АРХИТЕКТУРАСЫ</a:t>
            </a:r>
          </a:p>
        </p:txBody>
      </p:sp>
      <p:sp>
        <p:nvSpPr>
          <p:cNvPr id="58" name="Номер слайда 1"/>
          <p:cNvSpPr txBox="1">
            <a:spLocks/>
          </p:cNvSpPr>
          <p:nvPr/>
        </p:nvSpPr>
        <p:spPr>
          <a:xfrm>
            <a:off x="8178034" y="7134029"/>
            <a:ext cx="2429947" cy="402483"/>
          </a:xfrm>
          <a:prstGeom prst="rect">
            <a:avLst/>
          </a:prstGeom>
        </p:spPr>
        <p:txBody>
          <a:bodyPr/>
          <a:lstStyle>
            <a:defPPr>
              <a:defRPr lang="kk-K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ru-RU" dirty="0">
                <a:solidFill>
                  <a:schemeClr val="bg1">
                    <a:lumMod val="50000"/>
                  </a:schemeClr>
                </a:solidFill>
              </a:rPr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228236298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0" name="Прямая соединительная линия 39">
            <a:extLst>
              <a:ext uri="{FF2B5EF4-FFF2-40B4-BE49-F238E27FC236}">
                <a16:creationId xmlns:a16="http://schemas.microsoft.com/office/drawing/2014/main" id="{E3AF6081-F616-4A92-A881-90BCE3E0856B}"/>
              </a:ext>
            </a:extLst>
          </p:cNvPr>
          <p:cNvCxnSpPr>
            <a:cxnSpLocks/>
          </p:cNvCxnSpPr>
          <p:nvPr/>
        </p:nvCxnSpPr>
        <p:spPr>
          <a:xfrm>
            <a:off x="392335" y="1251913"/>
            <a:ext cx="10050283" cy="0"/>
          </a:xfrm>
          <a:prstGeom prst="line">
            <a:avLst/>
          </a:prstGeom>
          <a:ln w="25400">
            <a:solidFill>
              <a:schemeClr val="bg1">
                <a:lumMod val="85000"/>
              </a:schemeClr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Прямоугольник 15">
            <a:extLst>
              <a:ext uri="{FF2B5EF4-FFF2-40B4-BE49-F238E27FC236}">
                <a16:creationId xmlns:a16="http://schemas.microsoft.com/office/drawing/2014/main" id="{D39A38EB-FBA3-4EF6-89C8-6EDBD8C88366}"/>
              </a:ext>
            </a:extLst>
          </p:cNvPr>
          <p:cNvSpPr/>
          <p:nvPr/>
        </p:nvSpPr>
        <p:spPr>
          <a:xfrm>
            <a:off x="497946" y="279513"/>
            <a:ext cx="8888058" cy="82069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0749" tIns="30374" rIns="60749" bIns="30374" rtlCol="0" anchor="ctr"/>
          <a:lstStyle/>
          <a:p>
            <a:r>
              <a:rPr lang="ru-RU" sz="26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ЗІРГІ ДЕНСАУЛЫҚ САҚТАУ АРХИТЕКТУРАСЫ</a:t>
            </a:r>
          </a:p>
        </p:txBody>
      </p:sp>
      <p:cxnSp>
        <p:nvCxnSpPr>
          <p:cNvPr id="61" name="Прямая соединительная линия 60">
            <a:extLst>
              <a:ext uri="{FF2B5EF4-FFF2-40B4-BE49-F238E27FC236}">
                <a16:creationId xmlns:a16="http://schemas.microsoft.com/office/drawing/2014/main" id="{E3AF6081-F616-4A92-A881-90BCE3E0856B}"/>
              </a:ext>
            </a:extLst>
          </p:cNvPr>
          <p:cNvCxnSpPr>
            <a:cxnSpLocks/>
          </p:cNvCxnSpPr>
          <p:nvPr/>
        </p:nvCxnSpPr>
        <p:spPr>
          <a:xfrm>
            <a:off x="395288" y="3094192"/>
            <a:ext cx="10050283" cy="0"/>
          </a:xfrm>
          <a:prstGeom prst="line">
            <a:avLst/>
          </a:prstGeom>
          <a:ln w="25400">
            <a:solidFill>
              <a:schemeClr val="bg1">
                <a:lumMod val="85000"/>
              </a:schemeClr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2" name="Группа 91"/>
          <p:cNvGrpSpPr/>
          <p:nvPr/>
        </p:nvGrpSpPr>
        <p:grpSpPr>
          <a:xfrm>
            <a:off x="395288" y="1547435"/>
            <a:ext cx="1312454" cy="1288955"/>
            <a:chOff x="392335" y="1654292"/>
            <a:chExt cx="1205591" cy="1184005"/>
          </a:xfrm>
        </p:grpSpPr>
        <p:sp>
          <p:nvSpPr>
            <p:cNvPr id="93" name="Равнобедренный треугольник 92">
              <a:extLst>
                <a:ext uri="{FF2B5EF4-FFF2-40B4-BE49-F238E27FC236}">
                  <a16:creationId xmlns:a16="http://schemas.microsoft.com/office/drawing/2014/main" id="{47593492-A17C-4617-A7B8-931BB828DF3C}"/>
                </a:ext>
              </a:extLst>
            </p:cNvPr>
            <p:cNvSpPr/>
            <p:nvPr/>
          </p:nvSpPr>
          <p:spPr>
            <a:xfrm rot="5400000">
              <a:off x="502433" y="1742804"/>
              <a:ext cx="1176641" cy="1014345"/>
            </a:xfrm>
            <a:prstGeom prst="triangle">
              <a:avLst/>
            </a:prstGeom>
            <a:solidFill>
              <a:srgbClr val="00B0F0">
                <a:alpha val="30196"/>
              </a:srgbClr>
            </a:solidFill>
            <a:ln w="381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x-none" sz="1594"/>
            </a:p>
          </p:txBody>
        </p:sp>
        <p:sp>
          <p:nvSpPr>
            <p:cNvPr id="94" name="Равнобедренный треугольник 93">
              <a:extLst>
                <a:ext uri="{FF2B5EF4-FFF2-40B4-BE49-F238E27FC236}">
                  <a16:creationId xmlns:a16="http://schemas.microsoft.com/office/drawing/2014/main" id="{47593492-A17C-4617-A7B8-931BB828DF3C}"/>
                </a:ext>
              </a:extLst>
            </p:cNvPr>
            <p:cNvSpPr/>
            <p:nvPr/>
          </p:nvSpPr>
          <p:spPr>
            <a:xfrm rot="5400000">
              <a:off x="311187" y="1735440"/>
              <a:ext cx="1176641" cy="1014345"/>
            </a:xfrm>
            <a:prstGeom prst="triangle">
              <a:avLst/>
            </a:prstGeom>
            <a:solidFill>
              <a:srgbClr val="00B0F0">
                <a:alpha val="50196"/>
              </a:srgbClr>
            </a:solidFill>
            <a:ln w="381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x-none" sz="1594"/>
            </a:p>
          </p:txBody>
        </p:sp>
      </p:grpSp>
      <p:pic>
        <p:nvPicPr>
          <p:cNvPr id="88" name="Рисунок 8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0075" y="1722119"/>
            <a:ext cx="881833" cy="881833"/>
          </a:xfrm>
          <a:prstGeom prst="rect">
            <a:avLst/>
          </a:prstGeom>
        </p:spPr>
      </p:pic>
      <p:sp>
        <p:nvSpPr>
          <p:cNvPr id="35" name="Прямоугольник 34">
            <a:extLst>
              <a:ext uri="{FF2B5EF4-FFF2-40B4-BE49-F238E27FC236}">
                <a16:creationId xmlns:a16="http://schemas.microsoft.com/office/drawing/2014/main" id="{43DC4103-73C3-480D-A132-3B4742D18642}"/>
              </a:ext>
            </a:extLst>
          </p:cNvPr>
          <p:cNvSpPr/>
          <p:nvPr/>
        </p:nvSpPr>
        <p:spPr>
          <a:xfrm>
            <a:off x="3587262" y="1406046"/>
            <a:ext cx="7082256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 err="1">
                <a:solidFill>
                  <a:schemeClr val="tx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Денсаулық</a:t>
            </a:r>
            <a:r>
              <a:rPr lang="ru-RU" sz="1400" b="1" dirty="0">
                <a:solidFill>
                  <a:schemeClr val="tx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b="1" dirty="0" err="1">
                <a:solidFill>
                  <a:schemeClr val="tx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ақтау</a:t>
            </a:r>
            <a:r>
              <a:rPr lang="ru-RU" sz="1400" b="1" dirty="0">
                <a:solidFill>
                  <a:schemeClr val="tx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b="1" dirty="0" err="1">
                <a:solidFill>
                  <a:schemeClr val="tx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аласында</a:t>
            </a:r>
            <a:r>
              <a:rPr lang="ru-RU" sz="1100" dirty="0">
                <a:solidFill>
                  <a:schemeClr val="tx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b="1" dirty="0" err="1">
                <a:solidFill>
                  <a:schemeClr val="tx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әр</a:t>
            </a:r>
            <a:r>
              <a:rPr lang="ru-RU" sz="1400" b="1" dirty="0">
                <a:solidFill>
                  <a:schemeClr val="tx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b="1" dirty="0" err="1">
                <a:solidFill>
                  <a:schemeClr val="tx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үрлі</a:t>
            </a:r>
            <a:r>
              <a:rPr lang="ru-RU" sz="1400" b="1" dirty="0">
                <a:solidFill>
                  <a:schemeClr val="tx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b="1" dirty="0" err="1">
                <a:solidFill>
                  <a:schemeClr val="tx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инфрақұрылымда</a:t>
            </a:r>
            <a:r>
              <a:rPr lang="ru-RU" sz="1400" b="1" dirty="0">
                <a:solidFill>
                  <a:schemeClr val="tx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b="1" dirty="0" err="1">
                <a:solidFill>
                  <a:schemeClr val="tx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әне</a:t>
            </a:r>
            <a:r>
              <a:rPr lang="ru-RU" sz="1400" b="1" dirty="0">
                <a:solidFill>
                  <a:schemeClr val="tx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b="1" dirty="0" err="1">
                <a:solidFill>
                  <a:schemeClr val="tx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әртүрлі</a:t>
            </a:r>
            <a:r>
              <a:rPr lang="ru-RU" sz="1400" b="1" dirty="0">
                <a:solidFill>
                  <a:schemeClr val="tx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b="1" dirty="0" err="1">
                <a:solidFill>
                  <a:schemeClr val="tx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ведомстволық</a:t>
            </a:r>
            <a:r>
              <a:rPr lang="ru-RU" sz="1400" b="1" dirty="0">
                <a:solidFill>
                  <a:schemeClr val="tx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b="1" dirty="0" err="1">
                <a:solidFill>
                  <a:schemeClr val="tx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ұйымдарда</a:t>
            </a:r>
            <a:r>
              <a:rPr lang="ru-RU" sz="1400" b="1" dirty="0">
                <a:solidFill>
                  <a:schemeClr val="tx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b="1" dirty="0" err="1">
                <a:solidFill>
                  <a:schemeClr val="tx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рналасқан</a:t>
            </a:r>
            <a:r>
              <a:rPr lang="ru-RU" sz="1400" b="1" dirty="0">
                <a:solidFill>
                  <a:schemeClr val="tx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47 АЖ бар.</a:t>
            </a:r>
            <a:endParaRPr lang="ru-RU" sz="1100" dirty="0">
              <a:solidFill>
                <a:schemeClr val="tx2">
                  <a:lumMod val="50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6" name="Прямоугольник 35">
            <a:extLst>
              <a:ext uri="{FF2B5EF4-FFF2-40B4-BE49-F238E27FC236}">
                <a16:creationId xmlns:a16="http://schemas.microsoft.com/office/drawing/2014/main" id="{F5478B61-7A48-4150-A822-5DBFBAD7E3A4}"/>
              </a:ext>
            </a:extLst>
          </p:cNvPr>
          <p:cNvSpPr/>
          <p:nvPr/>
        </p:nvSpPr>
        <p:spPr>
          <a:xfrm>
            <a:off x="1683507" y="1582352"/>
            <a:ext cx="2026517" cy="116955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ts val="4200"/>
              </a:lnSpc>
            </a:pPr>
            <a:endParaRPr lang="ru-RU" sz="4000" b="1" dirty="0">
              <a:solidFill>
                <a:srgbClr val="00B0F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>
              <a:lnSpc>
                <a:spcPts val="4200"/>
              </a:lnSpc>
            </a:pPr>
            <a:r>
              <a:rPr lang="ru-RU" sz="4000" b="1" dirty="0">
                <a:solidFill>
                  <a:srgbClr val="00B0F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47 АЖ </a:t>
            </a:r>
            <a:endParaRPr lang="ru-RU" sz="4000" dirty="0">
              <a:solidFill>
                <a:srgbClr val="00B0F0"/>
              </a:solidFill>
            </a:endParaRPr>
          </a:p>
        </p:txBody>
      </p:sp>
      <p:sp>
        <p:nvSpPr>
          <p:cNvPr id="62" name="Прямоугольник 61">
            <a:extLst>
              <a:ext uri="{FF2B5EF4-FFF2-40B4-BE49-F238E27FC236}">
                <a16:creationId xmlns:a16="http://schemas.microsoft.com/office/drawing/2014/main" id="{BCE0AA54-B06A-45FD-AB52-590BAD1A3D54}"/>
              </a:ext>
            </a:extLst>
          </p:cNvPr>
          <p:cNvSpPr/>
          <p:nvPr/>
        </p:nvSpPr>
        <p:spPr>
          <a:xfrm>
            <a:off x="3478587" y="1962150"/>
            <a:ext cx="2388813" cy="10618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5725" indent="-85725">
              <a:buClr>
                <a:srgbClr val="00B0F0"/>
              </a:buClr>
              <a:buFont typeface="Arial" panose="020B0604020202020204" pitchFamily="34" charset="0"/>
              <a:buChar char="•"/>
            </a:pPr>
            <a:r>
              <a:rPr lang="ru-RU" sz="1050" b="1" dirty="0">
                <a:solidFill>
                  <a:schemeClr val="tx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6 АЖ </a:t>
            </a:r>
            <a:r>
              <a:rPr lang="ru-RU" sz="1050" dirty="0">
                <a:solidFill>
                  <a:schemeClr val="tx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ЭДСО</a:t>
            </a:r>
          </a:p>
          <a:p>
            <a:pPr marL="85725" indent="-85725">
              <a:buClr>
                <a:srgbClr val="00B0F0"/>
              </a:buClr>
              <a:buFont typeface="Arial" panose="020B0604020202020204" pitchFamily="34" charset="0"/>
              <a:buChar char="•"/>
            </a:pPr>
            <a:r>
              <a:rPr lang="ru-RU" sz="1050" b="1" dirty="0">
                <a:solidFill>
                  <a:schemeClr val="tx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4 АЖ </a:t>
            </a:r>
            <a:r>
              <a:rPr lang="ru-RU" sz="1050" dirty="0" err="1">
                <a:solidFill>
                  <a:schemeClr val="tx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ДЗмМБСҰО</a:t>
            </a:r>
            <a:endParaRPr lang="ru-RU" sz="1050" dirty="0">
              <a:solidFill>
                <a:schemeClr val="tx2">
                  <a:lumMod val="50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85725" indent="-85725">
              <a:buClr>
                <a:srgbClr val="00B0F0"/>
              </a:buClr>
              <a:buFont typeface="Arial" panose="020B0604020202020204" pitchFamily="34" charset="0"/>
              <a:buChar char="•"/>
            </a:pPr>
            <a:r>
              <a:rPr lang="ru-RU" sz="1050" b="1" dirty="0">
                <a:solidFill>
                  <a:schemeClr val="tx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3 АЖ </a:t>
            </a:r>
            <a:r>
              <a:rPr lang="ru-RU" sz="1050" dirty="0">
                <a:solidFill>
                  <a:schemeClr val="tx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«</a:t>
            </a:r>
            <a:r>
              <a:rPr lang="ru-RU" sz="1050" dirty="0" err="1">
                <a:solidFill>
                  <a:schemeClr val="tx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ӘлМСҚ</a:t>
            </a:r>
            <a:r>
              <a:rPr lang="ru-RU" sz="1050" dirty="0">
                <a:solidFill>
                  <a:schemeClr val="tx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» </a:t>
            </a:r>
            <a:r>
              <a:rPr lang="ru-RU" sz="1050" dirty="0" err="1">
                <a:solidFill>
                  <a:schemeClr val="tx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еАҚ</a:t>
            </a:r>
            <a:endParaRPr lang="ru-RU" sz="1050" dirty="0">
              <a:solidFill>
                <a:schemeClr val="tx2">
                  <a:lumMod val="50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85725" indent="-85725">
              <a:buClr>
                <a:srgbClr val="00B0F0"/>
              </a:buClr>
              <a:buFont typeface="Arial" panose="020B0604020202020204" pitchFamily="34" charset="0"/>
              <a:buChar char="•"/>
            </a:pPr>
            <a:r>
              <a:rPr lang="ru-RU" sz="1050" b="1" dirty="0">
                <a:solidFill>
                  <a:schemeClr val="tx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 АЖ </a:t>
            </a:r>
            <a:r>
              <a:rPr lang="ru-RU" sz="1050" dirty="0">
                <a:solidFill>
                  <a:schemeClr val="tx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«</a:t>
            </a:r>
            <a:r>
              <a:rPr lang="kk-KZ" sz="1050" dirty="0">
                <a:solidFill>
                  <a:schemeClr val="tx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Қоғамдық денсаулық сақтау ұлттық орталығы</a:t>
            </a:r>
            <a:r>
              <a:rPr lang="ru-RU" sz="1050" dirty="0">
                <a:solidFill>
                  <a:schemeClr val="tx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» </a:t>
            </a:r>
            <a:r>
              <a:rPr lang="kk-KZ" sz="1050" dirty="0">
                <a:solidFill>
                  <a:schemeClr val="tx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ШЖҚ РМК</a:t>
            </a:r>
            <a:endParaRPr lang="ru-RU" sz="1050" dirty="0">
              <a:solidFill>
                <a:schemeClr val="tx2">
                  <a:lumMod val="50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65" name="Прямоугольник 64">
            <a:extLst>
              <a:ext uri="{FF2B5EF4-FFF2-40B4-BE49-F238E27FC236}">
                <a16:creationId xmlns:a16="http://schemas.microsoft.com/office/drawing/2014/main" id="{93CEC242-AD8D-4E04-9BEF-0083174074D3}"/>
              </a:ext>
            </a:extLst>
          </p:cNvPr>
          <p:cNvSpPr/>
          <p:nvPr/>
        </p:nvSpPr>
        <p:spPr>
          <a:xfrm>
            <a:off x="5697912" y="1962150"/>
            <a:ext cx="2407863" cy="90024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5725" indent="-85725">
              <a:buClr>
                <a:srgbClr val="00B0F0"/>
              </a:buClr>
              <a:buFont typeface="Arial" panose="020B0604020202020204" pitchFamily="34" charset="0"/>
              <a:buChar char="•"/>
            </a:pPr>
            <a:r>
              <a:rPr lang="ru-RU" sz="1050" b="1" dirty="0">
                <a:solidFill>
                  <a:schemeClr val="tx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 АЖ «</a:t>
            </a:r>
            <a:r>
              <a:rPr lang="ru-RU" sz="1050" dirty="0">
                <a:solidFill>
                  <a:schemeClr val="tx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рансфузиология </a:t>
            </a:r>
            <a:r>
              <a:rPr lang="ru-RU" sz="1050" dirty="0" err="1">
                <a:solidFill>
                  <a:schemeClr val="tx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ғылыми-өндірістік</a:t>
            </a:r>
            <a:r>
              <a:rPr lang="ru-RU" sz="1050" dirty="0">
                <a:solidFill>
                  <a:schemeClr val="tx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050" dirty="0" err="1">
                <a:solidFill>
                  <a:schemeClr val="tx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рталығы</a:t>
            </a:r>
            <a:r>
              <a:rPr lang="ru-RU" sz="1050" dirty="0">
                <a:solidFill>
                  <a:schemeClr val="tx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» </a:t>
            </a:r>
            <a:r>
              <a:rPr lang="kk-KZ" sz="1050" dirty="0">
                <a:solidFill>
                  <a:schemeClr val="tx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ШЖҚ РМК</a:t>
            </a:r>
            <a:endParaRPr lang="ru-RU" sz="1050" dirty="0">
              <a:solidFill>
                <a:schemeClr val="tx2">
                  <a:lumMod val="50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85725" indent="-85725">
              <a:buClr>
                <a:srgbClr val="00B0F0"/>
              </a:buClr>
              <a:buFont typeface="Arial" panose="020B0604020202020204" pitchFamily="34" charset="0"/>
              <a:buChar char="•"/>
            </a:pPr>
            <a:r>
              <a:rPr lang="ru-RU" sz="1050" b="1" dirty="0">
                <a:solidFill>
                  <a:schemeClr val="tx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 АЖ</a:t>
            </a:r>
            <a:r>
              <a:rPr lang="ru-RU" sz="1050" dirty="0">
                <a:solidFill>
                  <a:schemeClr val="tx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ҚР ДСМ «</a:t>
            </a:r>
            <a:r>
              <a:rPr lang="ru-RU" sz="1050" dirty="0" err="1">
                <a:solidFill>
                  <a:schemeClr val="tx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Ұлттық</a:t>
            </a:r>
            <a:r>
              <a:rPr lang="ru-RU" sz="1050" dirty="0">
                <a:solidFill>
                  <a:schemeClr val="tx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050" dirty="0" err="1">
                <a:solidFill>
                  <a:schemeClr val="tx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шұғыл</a:t>
            </a:r>
            <a:r>
              <a:rPr lang="ru-RU" sz="1050" dirty="0">
                <a:solidFill>
                  <a:schemeClr val="tx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050" dirty="0" err="1">
                <a:solidFill>
                  <a:schemeClr val="tx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едицинаны</a:t>
            </a:r>
            <a:r>
              <a:rPr lang="ru-RU" sz="1050" dirty="0">
                <a:solidFill>
                  <a:schemeClr val="tx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050" dirty="0" err="1">
                <a:solidFill>
                  <a:schemeClr val="tx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үйлестіру</a:t>
            </a:r>
            <a:r>
              <a:rPr lang="ru-RU" sz="1050" dirty="0">
                <a:solidFill>
                  <a:schemeClr val="tx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050" dirty="0" err="1">
                <a:solidFill>
                  <a:schemeClr val="tx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рталығы</a:t>
            </a:r>
            <a:r>
              <a:rPr lang="ru-RU" sz="1050" dirty="0">
                <a:solidFill>
                  <a:schemeClr val="tx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» ШЖҚ РМК</a:t>
            </a:r>
          </a:p>
        </p:txBody>
      </p:sp>
      <p:sp>
        <p:nvSpPr>
          <p:cNvPr id="68" name="Прямоугольник 67">
            <a:extLst>
              <a:ext uri="{FF2B5EF4-FFF2-40B4-BE49-F238E27FC236}">
                <a16:creationId xmlns:a16="http://schemas.microsoft.com/office/drawing/2014/main" id="{C7F589DC-D050-4778-99BA-0483F85350E8}"/>
              </a:ext>
            </a:extLst>
          </p:cNvPr>
          <p:cNvSpPr/>
          <p:nvPr/>
        </p:nvSpPr>
        <p:spPr>
          <a:xfrm>
            <a:off x="8172825" y="1962150"/>
            <a:ext cx="2438026" cy="10618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5725" indent="-85725">
              <a:buClr>
                <a:srgbClr val="00B0F0"/>
              </a:buClr>
              <a:buFont typeface="Arial" panose="020B0604020202020204" pitchFamily="34" charset="0"/>
              <a:buChar char="•"/>
            </a:pPr>
            <a:r>
              <a:rPr lang="ru-RU" sz="1050" b="1" dirty="0">
                <a:solidFill>
                  <a:schemeClr val="tx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 АЖ </a:t>
            </a:r>
            <a:r>
              <a:rPr lang="ru-RU" sz="1050" dirty="0">
                <a:solidFill>
                  <a:schemeClr val="tx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ҚР ДСМ «</a:t>
            </a:r>
            <a:r>
              <a:rPr lang="ru-RU" sz="1050" dirty="0" err="1">
                <a:solidFill>
                  <a:schemeClr val="tx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ранспланттауды</a:t>
            </a:r>
            <a:r>
              <a:rPr lang="ru-RU" sz="1050" dirty="0">
                <a:solidFill>
                  <a:schemeClr val="tx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050" dirty="0" err="1">
                <a:solidFill>
                  <a:schemeClr val="tx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әне</a:t>
            </a:r>
            <a:r>
              <a:rPr lang="ru-RU" sz="1050" dirty="0">
                <a:solidFill>
                  <a:schemeClr val="tx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050" dirty="0" err="1">
                <a:solidFill>
                  <a:schemeClr val="tx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оғары</a:t>
            </a:r>
            <a:r>
              <a:rPr lang="ru-RU" sz="1050" dirty="0">
                <a:solidFill>
                  <a:schemeClr val="tx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050" dirty="0" err="1">
                <a:solidFill>
                  <a:schemeClr val="tx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ехнологиялық</a:t>
            </a:r>
            <a:r>
              <a:rPr lang="ru-RU" sz="1050" dirty="0">
                <a:solidFill>
                  <a:schemeClr val="tx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050" dirty="0" err="1">
                <a:solidFill>
                  <a:schemeClr val="tx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едициналық</a:t>
            </a:r>
            <a:r>
              <a:rPr lang="ru-RU" sz="1050" dirty="0">
                <a:solidFill>
                  <a:schemeClr val="tx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050" dirty="0" err="1">
                <a:solidFill>
                  <a:schemeClr val="tx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қызметті</a:t>
            </a:r>
            <a:r>
              <a:rPr lang="ru-RU" sz="1050" dirty="0">
                <a:solidFill>
                  <a:schemeClr val="tx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050" dirty="0" err="1">
                <a:solidFill>
                  <a:schemeClr val="tx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үйлестіру</a:t>
            </a:r>
            <a:r>
              <a:rPr lang="ru-RU" sz="1050" dirty="0">
                <a:solidFill>
                  <a:schemeClr val="tx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050" dirty="0" err="1">
                <a:solidFill>
                  <a:schemeClr val="tx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өніндегі</a:t>
            </a:r>
            <a:r>
              <a:rPr lang="ru-RU" sz="1050" dirty="0">
                <a:solidFill>
                  <a:schemeClr val="tx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050" dirty="0" err="1">
                <a:solidFill>
                  <a:schemeClr val="tx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еспубликалық</a:t>
            </a:r>
            <a:r>
              <a:rPr lang="ru-RU" sz="1050" dirty="0">
                <a:solidFill>
                  <a:schemeClr val="tx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050" dirty="0" err="1">
                <a:solidFill>
                  <a:schemeClr val="tx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рталық</a:t>
            </a:r>
            <a:r>
              <a:rPr lang="ru-RU" sz="1050" dirty="0">
                <a:solidFill>
                  <a:schemeClr val="tx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» ШЖҚ РМК</a:t>
            </a:r>
          </a:p>
          <a:p>
            <a:pPr marL="85725" indent="-85725">
              <a:buClr>
                <a:srgbClr val="00B0F0"/>
              </a:buClr>
              <a:buFont typeface="Arial" panose="020B0604020202020204" pitchFamily="34" charset="0"/>
              <a:buChar char="•"/>
            </a:pPr>
            <a:r>
              <a:rPr lang="ru-RU" sz="1050" b="1" dirty="0">
                <a:solidFill>
                  <a:schemeClr val="tx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5 к</a:t>
            </a:r>
            <a:r>
              <a:rPr lang="kk-KZ" sz="1050" b="1" dirty="0">
                <a:solidFill>
                  <a:schemeClr val="tx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іші жүйе </a:t>
            </a:r>
            <a:r>
              <a:rPr lang="ru-RU" sz="1050" dirty="0">
                <a:solidFill>
                  <a:schemeClr val="tx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«</a:t>
            </a:r>
            <a:r>
              <a:rPr lang="ru-RU" sz="1050" dirty="0" err="1">
                <a:solidFill>
                  <a:schemeClr val="tx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единформ</a:t>
            </a:r>
            <a:r>
              <a:rPr lang="ru-RU" sz="1050" dirty="0">
                <a:solidFill>
                  <a:schemeClr val="tx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» ЖШС</a:t>
            </a:r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B78D339F-C97A-4621-B4F5-AB108866CDB6}"/>
              </a:ext>
            </a:extLst>
          </p:cNvPr>
          <p:cNvSpPr txBox="1"/>
          <p:nvPr/>
        </p:nvSpPr>
        <p:spPr>
          <a:xfrm>
            <a:off x="10375288" y="7030104"/>
            <a:ext cx="271228" cy="29591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ru-RU" sz="1323" dirty="0">
                <a:solidFill>
                  <a:schemeClr val="tx1">
                    <a:tint val="75000"/>
                  </a:schemeClr>
                </a:solidFill>
              </a:rPr>
              <a:t>6</a:t>
            </a:r>
            <a:endParaRPr lang="x-none" sz="1323" dirty="0">
              <a:solidFill>
                <a:schemeClr val="tx1">
                  <a:tint val="75000"/>
                </a:schemeClr>
              </a:solidFill>
            </a:endParaRPr>
          </a:p>
        </p:txBody>
      </p:sp>
      <p:pic>
        <p:nvPicPr>
          <p:cNvPr id="17" name="Рисунок 16">
            <a:extLst>
              <a:ext uri="{FF2B5EF4-FFF2-40B4-BE49-F238E27FC236}">
                <a16:creationId xmlns:a16="http://schemas.microsoft.com/office/drawing/2014/main" id="{71222714-5061-413A-94AD-19E25C016F49}"/>
              </a:ext>
            </a:extLst>
          </p:cNvPr>
          <p:cNvPicPr/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1337"/>
          <a:stretch/>
        </p:blipFill>
        <p:spPr bwMode="auto">
          <a:xfrm>
            <a:off x="395289" y="3306756"/>
            <a:ext cx="4082141" cy="1363216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C70E2089-E8AD-4289-B6B9-A1B15146B5BA}"/>
              </a:ext>
            </a:extLst>
          </p:cNvPr>
          <p:cNvSpPr/>
          <p:nvPr/>
        </p:nvSpPr>
        <p:spPr>
          <a:xfrm>
            <a:off x="307290" y="4697383"/>
            <a:ext cx="4546063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1000"/>
              </a:spcAft>
            </a:pPr>
            <a:r>
              <a:rPr lang="ru-RU" sz="1100" b="1" dirty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«</a:t>
            </a:r>
            <a:r>
              <a:rPr lang="ru-RU" sz="1100" b="1" dirty="0" err="1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тационарлық</a:t>
            </a:r>
            <a:r>
              <a:rPr lang="ru-RU" sz="1100" b="1" dirty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100" b="1" dirty="0" err="1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ауқастардың</a:t>
            </a:r>
            <a:r>
              <a:rPr lang="ru-RU" sz="1100" b="1" dirty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100" b="1" dirty="0" err="1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электрондық</a:t>
            </a:r>
            <a:r>
              <a:rPr lang="ru-RU" sz="1100" b="1" dirty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100" b="1" dirty="0" err="1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іркелімі</a:t>
            </a:r>
            <a:r>
              <a:rPr lang="ru-RU" sz="1100" b="1" dirty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» АЖ</a:t>
            </a:r>
          </a:p>
        </p:txBody>
      </p:sp>
      <p:pic>
        <p:nvPicPr>
          <p:cNvPr id="18" name="Рисунок 17" descr="РБиЖФВ">
            <a:extLst>
              <a:ext uri="{FF2B5EF4-FFF2-40B4-BE49-F238E27FC236}">
                <a16:creationId xmlns:a16="http://schemas.microsoft.com/office/drawing/2014/main" id="{F911B177-8032-42F0-AB1B-04BDB4A93DCF}"/>
              </a:ext>
            </a:extLst>
          </p:cNvPr>
          <p:cNvPicPr/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395289" y="5133429"/>
            <a:ext cx="4111397" cy="1943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451E69E4-65A5-48B5-B686-13A3B972A576}"/>
              </a:ext>
            </a:extLst>
          </p:cNvPr>
          <p:cNvSpPr/>
          <p:nvPr/>
        </p:nvSpPr>
        <p:spPr>
          <a:xfrm>
            <a:off x="307291" y="7074823"/>
            <a:ext cx="5299348" cy="28700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ru-RU" sz="1100" b="1" dirty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«</a:t>
            </a:r>
            <a:r>
              <a:rPr lang="ru-RU" sz="1100" b="1" dirty="0" err="1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үкті</a:t>
            </a:r>
            <a:r>
              <a:rPr lang="ru-RU" sz="1100" b="1" dirty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100" b="1" dirty="0" err="1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әне</a:t>
            </a:r>
            <a:r>
              <a:rPr lang="ru-RU" sz="1100" b="1" dirty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100" b="1" dirty="0" err="1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фертильдік</a:t>
            </a:r>
            <a:r>
              <a:rPr lang="ru-RU" sz="1100" b="1" dirty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100" b="1" dirty="0" err="1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астағы</a:t>
            </a:r>
            <a:r>
              <a:rPr lang="ru-RU" sz="1100" b="1" dirty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100" b="1" dirty="0" err="1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әйелдер</a:t>
            </a:r>
            <a:r>
              <a:rPr lang="ru-RU" sz="1100" b="1" dirty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100" b="1" dirty="0" err="1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іркелімі</a:t>
            </a:r>
            <a:r>
              <a:rPr lang="ru-RU" sz="1100" b="1" dirty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» АЖ</a:t>
            </a:r>
          </a:p>
        </p:txBody>
      </p:sp>
      <p:pic>
        <p:nvPicPr>
          <p:cNvPr id="20" name="Рисунок 19">
            <a:extLst>
              <a:ext uri="{FF2B5EF4-FFF2-40B4-BE49-F238E27FC236}">
                <a16:creationId xmlns:a16="http://schemas.microsoft.com/office/drawing/2014/main" id="{1141D405-C837-4796-B189-1CCF692E3917}"/>
              </a:ext>
            </a:extLst>
          </p:cNvPr>
          <p:cNvPicPr/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5327422" y="3262929"/>
            <a:ext cx="4099605" cy="14216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C3C9115E-C49C-4162-879A-0B3220A62C76}"/>
              </a:ext>
            </a:extLst>
          </p:cNvPr>
          <p:cNvSpPr/>
          <p:nvPr/>
        </p:nvSpPr>
        <p:spPr>
          <a:xfrm>
            <a:off x="5247593" y="4694562"/>
            <a:ext cx="3286806" cy="2672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ru-RU" sz="1100" b="1" dirty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«</a:t>
            </a:r>
            <a:r>
              <a:rPr lang="ru-RU" sz="1100" b="1" dirty="0" err="1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Бірыңғай</a:t>
            </a:r>
            <a:r>
              <a:rPr lang="ru-RU" sz="1100" b="1" dirty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100" b="1" dirty="0" err="1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өлем</a:t>
            </a:r>
            <a:r>
              <a:rPr lang="ru-RU" sz="1100" b="1" dirty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100" b="1" dirty="0" err="1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үйесі</a:t>
            </a:r>
            <a:r>
              <a:rPr lang="ru-RU" sz="1100" b="1" dirty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» АЖ</a:t>
            </a:r>
          </a:p>
        </p:txBody>
      </p:sp>
      <p:pic>
        <p:nvPicPr>
          <p:cNvPr id="22" name="Рисунок 21">
            <a:extLst>
              <a:ext uri="{FF2B5EF4-FFF2-40B4-BE49-F238E27FC236}">
                <a16:creationId xmlns:a16="http://schemas.microsoft.com/office/drawing/2014/main" id="{0BCA8C5A-7354-4949-AF33-C0A2B87174DD}"/>
              </a:ext>
            </a:extLst>
          </p:cNvPr>
          <p:cNvPicPr/>
          <p:nvPr/>
        </p:nvPicPr>
        <p:blipFill rotWithShape="1">
          <a:blip r:embed="rId6" cstate="print"/>
          <a:srcRect b="10396"/>
          <a:stretch/>
        </p:blipFill>
        <p:spPr>
          <a:xfrm>
            <a:off x="5327423" y="5133429"/>
            <a:ext cx="4099605" cy="1876970"/>
          </a:xfrm>
          <a:prstGeom prst="rect">
            <a:avLst/>
          </a:prstGeom>
        </p:spPr>
      </p:pic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494FAD56-A2C9-4CFC-8D08-D14028EE7C6B}"/>
              </a:ext>
            </a:extLst>
          </p:cNvPr>
          <p:cNvSpPr/>
          <p:nvPr/>
        </p:nvSpPr>
        <p:spPr>
          <a:xfrm>
            <a:off x="5247596" y="7073123"/>
            <a:ext cx="5397500" cy="287002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kk-KZ" sz="1100" b="1" dirty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«Медициналық қызметтердің сапасын басқару жүйесі» АЖ</a:t>
            </a:r>
            <a:endParaRPr lang="ru-RU" sz="1100" b="1" dirty="0">
              <a:solidFill>
                <a:srgbClr val="0070C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24" name="Рисунок 23">
            <a:extLst>
              <a:ext uri="{FF2B5EF4-FFF2-40B4-BE49-F238E27FC236}">
                <a16:creationId xmlns:a16="http://schemas.microsoft.com/office/drawing/2014/main" id="{294C689E-4FCC-4832-A4BD-4E9DCFD3B3A3}"/>
              </a:ext>
            </a:extLst>
          </p:cNvPr>
          <p:cNvPicPr/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534" b="-3205"/>
          <a:stretch/>
        </p:blipFill>
        <p:spPr bwMode="auto">
          <a:xfrm>
            <a:off x="395288" y="4417099"/>
            <a:ext cx="4082141" cy="35084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56880147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" name="Блок-схема: магнитный диск 94">
            <a:extLst>
              <a:ext uri="{FF2B5EF4-FFF2-40B4-BE49-F238E27FC236}">
                <a16:creationId xmlns:a16="http://schemas.microsoft.com/office/drawing/2014/main" id="{05043C70-66F6-4F17-8108-8CCD5A0597FF}"/>
              </a:ext>
            </a:extLst>
          </p:cNvPr>
          <p:cNvSpPr/>
          <p:nvPr/>
        </p:nvSpPr>
        <p:spPr>
          <a:xfrm>
            <a:off x="3245724" y="1663749"/>
            <a:ext cx="2610595" cy="4350557"/>
          </a:xfrm>
          <a:prstGeom prst="flowChartMagneticDisk">
            <a:avLst/>
          </a:prstGeom>
          <a:solidFill>
            <a:srgbClr val="00B050"/>
          </a:solidFill>
          <a:ln w="2857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80998" tIns="40499" rIns="80998" bIns="4049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07000"/>
              </a:lnSpc>
              <a:spcAft>
                <a:spcPts val="709"/>
              </a:spcAft>
            </a:pPr>
            <a:r>
              <a:rPr lang="ru-RU" sz="1063" dirty="0"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ru-RU" sz="974" dirty="0">
              <a:latin typeface="Arial Narrow" panose="020B0606020202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709"/>
              </a:spcAft>
            </a:pPr>
            <a:r>
              <a:rPr lang="ru-RU" sz="974" dirty="0"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</a:p>
        </p:txBody>
      </p:sp>
      <p:grpSp>
        <p:nvGrpSpPr>
          <p:cNvPr id="3" name="Группа 2">
            <a:extLst>
              <a:ext uri="{FF2B5EF4-FFF2-40B4-BE49-F238E27FC236}">
                <a16:creationId xmlns:a16="http://schemas.microsoft.com/office/drawing/2014/main" id="{4382D423-7B76-4E15-9536-2A307625480E}"/>
              </a:ext>
            </a:extLst>
          </p:cNvPr>
          <p:cNvGrpSpPr/>
          <p:nvPr/>
        </p:nvGrpSpPr>
        <p:grpSpPr>
          <a:xfrm>
            <a:off x="3353249" y="5997747"/>
            <a:ext cx="2415091" cy="337081"/>
            <a:chOff x="3380331" y="5464629"/>
            <a:chExt cx="2415091" cy="663373"/>
          </a:xfrm>
        </p:grpSpPr>
        <p:cxnSp>
          <p:nvCxnSpPr>
            <p:cNvPr id="53" name="Прямая со стрелкой 52">
              <a:extLst>
                <a:ext uri="{FF2B5EF4-FFF2-40B4-BE49-F238E27FC236}">
                  <a16:creationId xmlns:a16="http://schemas.microsoft.com/office/drawing/2014/main" id="{12D78FB0-CA23-4072-8265-9734FABA965A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380331" y="5464629"/>
              <a:ext cx="491221" cy="655783"/>
            </a:xfrm>
            <a:prstGeom prst="straightConnector1">
              <a:avLst/>
            </a:prstGeom>
            <a:ln w="28575">
              <a:solidFill>
                <a:srgbClr val="007FCB"/>
              </a:solidFill>
              <a:tailEnd type="triangle"/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Прямая со стрелкой 67">
              <a:extLst>
                <a:ext uri="{FF2B5EF4-FFF2-40B4-BE49-F238E27FC236}">
                  <a16:creationId xmlns:a16="http://schemas.microsoft.com/office/drawing/2014/main" id="{9661BFC2-E93E-4389-88CD-6E6A61618546}"/>
                </a:ext>
              </a:extLst>
            </p:cNvPr>
            <p:cNvCxnSpPr>
              <a:cxnSpLocks/>
            </p:cNvCxnSpPr>
            <p:nvPr/>
          </p:nvCxnSpPr>
          <p:spPr>
            <a:xfrm>
              <a:off x="5294666" y="5475514"/>
              <a:ext cx="500756" cy="652488"/>
            </a:xfrm>
            <a:prstGeom prst="straightConnector1">
              <a:avLst/>
            </a:prstGeom>
            <a:ln w="28575">
              <a:solidFill>
                <a:srgbClr val="007FCB"/>
              </a:solidFill>
              <a:tailEnd type="triangle"/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3" name="Блок-схема: альтернативный процесс 92">
            <a:extLst>
              <a:ext uri="{FF2B5EF4-FFF2-40B4-BE49-F238E27FC236}">
                <a16:creationId xmlns:a16="http://schemas.microsoft.com/office/drawing/2014/main" id="{80430A05-CE45-44BC-A23E-E7275BFD506C}"/>
              </a:ext>
            </a:extLst>
          </p:cNvPr>
          <p:cNvSpPr/>
          <p:nvPr/>
        </p:nvSpPr>
        <p:spPr>
          <a:xfrm>
            <a:off x="6266514" y="1783088"/>
            <a:ext cx="2118116" cy="919645"/>
          </a:xfrm>
          <a:prstGeom prst="flowChartAlternateProcess">
            <a:avLst/>
          </a:prstGeom>
          <a:solidFill>
            <a:srgbClr val="00B050"/>
          </a:solidFill>
          <a:ln w="1905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80998" tIns="40499" rIns="80998" bIns="4049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07000"/>
              </a:lnSpc>
            </a:pPr>
            <a:endParaRPr lang="ru-RU" sz="1000" b="1" dirty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92" name="Блок-схема: альтернативный процесс 91">
            <a:extLst>
              <a:ext uri="{FF2B5EF4-FFF2-40B4-BE49-F238E27FC236}">
                <a16:creationId xmlns:a16="http://schemas.microsoft.com/office/drawing/2014/main" id="{8EBB346A-A4D9-4673-8445-0732464C3940}"/>
              </a:ext>
            </a:extLst>
          </p:cNvPr>
          <p:cNvSpPr/>
          <p:nvPr/>
        </p:nvSpPr>
        <p:spPr>
          <a:xfrm>
            <a:off x="6315346" y="2999519"/>
            <a:ext cx="1985892" cy="321190"/>
          </a:xfrm>
          <a:prstGeom prst="flowChartAlternateProcess">
            <a:avLst/>
          </a:prstGeom>
          <a:solidFill>
            <a:srgbClr val="00B050"/>
          </a:solidFill>
          <a:ln w="1905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80998" tIns="40499" rIns="80998" bIns="4049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07000"/>
              </a:lnSpc>
            </a:pPr>
            <a:endParaRPr lang="ru-RU" sz="1000" b="1" dirty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cxnSp>
        <p:nvCxnSpPr>
          <p:cNvPr id="40" name="Прямая соединительная линия 39">
            <a:extLst>
              <a:ext uri="{FF2B5EF4-FFF2-40B4-BE49-F238E27FC236}">
                <a16:creationId xmlns:a16="http://schemas.microsoft.com/office/drawing/2014/main" id="{E3AF6081-F616-4A92-A881-90BCE3E0856B}"/>
              </a:ext>
            </a:extLst>
          </p:cNvPr>
          <p:cNvCxnSpPr>
            <a:cxnSpLocks/>
          </p:cNvCxnSpPr>
          <p:nvPr/>
        </p:nvCxnSpPr>
        <p:spPr>
          <a:xfrm>
            <a:off x="395288" y="881423"/>
            <a:ext cx="9616853" cy="0"/>
          </a:xfrm>
          <a:prstGeom prst="line">
            <a:avLst/>
          </a:prstGeom>
          <a:ln w="25400">
            <a:solidFill>
              <a:schemeClr val="bg1">
                <a:lumMod val="85000"/>
              </a:schemeClr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Прямоугольник 15">
            <a:extLst>
              <a:ext uri="{FF2B5EF4-FFF2-40B4-BE49-F238E27FC236}">
                <a16:creationId xmlns:a16="http://schemas.microsoft.com/office/drawing/2014/main" id="{D39A38EB-FBA3-4EF6-89C8-6EDBD8C88366}"/>
              </a:ext>
            </a:extLst>
          </p:cNvPr>
          <p:cNvSpPr/>
          <p:nvPr/>
        </p:nvSpPr>
        <p:spPr>
          <a:xfrm>
            <a:off x="316264" y="98152"/>
            <a:ext cx="8888058" cy="82069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0749" tIns="30374" rIns="60749" bIns="30374" rtlCol="0" anchor="ctr"/>
          <a:lstStyle/>
          <a:p>
            <a:r>
              <a:rPr lang="en-US" sz="2800" b="1" dirty="0" err="1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eHEALTH</a:t>
            </a:r>
            <a:r>
              <a:rPr lang="kk-KZ" sz="2800" b="1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2800" b="1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АРХИТЕКТУРАСЫ</a:t>
            </a:r>
          </a:p>
        </p:txBody>
      </p:sp>
      <p:sp>
        <p:nvSpPr>
          <p:cNvPr id="38" name="Блок-схема: магнитный диск 37">
            <a:extLst>
              <a:ext uri="{FF2B5EF4-FFF2-40B4-BE49-F238E27FC236}">
                <a16:creationId xmlns:a16="http://schemas.microsoft.com/office/drawing/2014/main" id="{9F5C88CB-97A0-4AFE-AAA9-8C0E20F743CE}"/>
              </a:ext>
            </a:extLst>
          </p:cNvPr>
          <p:cNvSpPr/>
          <p:nvPr/>
        </p:nvSpPr>
        <p:spPr>
          <a:xfrm>
            <a:off x="3259541" y="1730264"/>
            <a:ext cx="2561210" cy="4297587"/>
          </a:xfrm>
          <a:prstGeom prst="flowChartMagneticDisk">
            <a:avLst/>
          </a:prstGeom>
          <a:noFill/>
          <a:ln w="28575">
            <a:solidFill>
              <a:srgbClr val="00A249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80998" tIns="40499" rIns="80998" bIns="4049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798726" indent="-303741">
              <a:lnSpc>
                <a:spcPct val="107000"/>
              </a:lnSpc>
              <a:spcAft>
                <a:spcPts val="709"/>
              </a:spcAft>
            </a:pPr>
            <a:endParaRPr lang="ru-RU" sz="1594" dirty="0">
              <a:latin typeface="Arial Narrow" panose="020B0606020202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798726" indent="-303741">
              <a:lnSpc>
                <a:spcPct val="107000"/>
              </a:lnSpc>
              <a:spcAft>
                <a:spcPts val="709"/>
              </a:spcAft>
            </a:pPr>
            <a:endParaRPr lang="ru-RU" sz="1594" dirty="0">
              <a:latin typeface="Arial Narrow" panose="020B0606020202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709"/>
              </a:spcAft>
            </a:pPr>
            <a:r>
              <a:rPr lang="ru-RU" sz="1063" dirty="0"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ru-RU" sz="974" dirty="0">
              <a:latin typeface="Arial Narrow" panose="020B0606020202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709"/>
              </a:spcAft>
            </a:pPr>
            <a:r>
              <a:rPr lang="ru-RU" sz="974" dirty="0"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</a:p>
        </p:txBody>
      </p:sp>
      <p:sp>
        <p:nvSpPr>
          <p:cNvPr id="41" name="Блок-схема: альтернативный процесс 40">
            <a:extLst>
              <a:ext uri="{FF2B5EF4-FFF2-40B4-BE49-F238E27FC236}">
                <a16:creationId xmlns:a16="http://schemas.microsoft.com/office/drawing/2014/main" id="{57B1B4B5-E52D-4B78-B9CE-E0E00DF03F4C}"/>
              </a:ext>
            </a:extLst>
          </p:cNvPr>
          <p:cNvSpPr/>
          <p:nvPr/>
        </p:nvSpPr>
        <p:spPr>
          <a:xfrm>
            <a:off x="6116715" y="1784816"/>
            <a:ext cx="2319595" cy="985210"/>
          </a:xfrm>
          <a:prstGeom prst="flowChartAlternateProcess">
            <a:avLst/>
          </a:prstGeom>
          <a:noFill/>
          <a:ln w="1905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80998" tIns="40499" rIns="80998" bIns="4049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74625" indent="-87313" algn="just">
              <a:tabLst>
                <a:tab pos="174625" algn="l"/>
              </a:tabLst>
            </a:pPr>
            <a:r>
              <a:rPr lang="ru-RU" sz="974" b="1" dirty="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Денсаулық</a:t>
            </a:r>
            <a:r>
              <a:rPr lang="ru-RU" sz="974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974" b="1" dirty="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ақтау</a:t>
            </a:r>
            <a:r>
              <a:rPr lang="ru-RU" sz="974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974" b="1" dirty="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есурстарын</a:t>
            </a:r>
            <a:r>
              <a:rPr lang="ru-RU" sz="974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974" b="1" dirty="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басқару</a:t>
            </a:r>
            <a:endParaRPr lang="ru-RU" sz="974" b="1" dirty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58762" indent="-171450" algn="just">
              <a:buFont typeface="Arial" panose="020B0604020202020204" pitchFamily="34" charset="0"/>
              <a:buChar char="•"/>
              <a:tabLst>
                <a:tab pos="174625" algn="l"/>
              </a:tabLst>
            </a:pPr>
            <a:r>
              <a:rPr lang="ru-RU" sz="974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«</a:t>
            </a:r>
            <a:r>
              <a:rPr lang="ru-RU" sz="974" b="1" dirty="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есурстарды</a:t>
            </a:r>
            <a:r>
              <a:rPr lang="ru-RU" sz="974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974" b="1" dirty="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басқару</a:t>
            </a:r>
            <a:r>
              <a:rPr lang="ru-RU" sz="974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974" b="1" dirty="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үйесі</a:t>
            </a:r>
            <a:r>
              <a:rPr lang="ru-RU" sz="974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»</a:t>
            </a:r>
          </a:p>
          <a:p>
            <a:pPr marL="258762" indent="-171450" algn="just">
              <a:buFont typeface="Arial" panose="020B0604020202020204" pitchFamily="34" charset="0"/>
              <a:buChar char="•"/>
              <a:tabLst>
                <a:tab pos="174625" algn="l"/>
              </a:tabLst>
            </a:pPr>
            <a:r>
              <a:rPr lang="ru-RU" sz="974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«</a:t>
            </a:r>
            <a:r>
              <a:rPr lang="ru-RU" sz="974" b="1" dirty="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едициналық</a:t>
            </a:r>
            <a:r>
              <a:rPr lang="ru-RU" sz="974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974" b="1" dirty="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ехниканы</a:t>
            </a:r>
            <a:r>
              <a:rPr lang="ru-RU" sz="974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974" b="1" dirty="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басқару</a:t>
            </a:r>
            <a:r>
              <a:rPr lang="ru-RU" sz="974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974" b="1" dirty="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үйесі</a:t>
            </a:r>
            <a:r>
              <a:rPr lang="ru-RU" sz="974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»</a:t>
            </a:r>
          </a:p>
        </p:txBody>
      </p:sp>
      <p:sp>
        <p:nvSpPr>
          <p:cNvPr id="42" name="Блок-схема: альтернативный процесс 41">
            <a:extLst>
              <a:ext uri="{FF2B5EF4-FFF2-40B4-BE49-F238E27FC236}">
                <a16:creationId xmlns:a16="http://schemas.microsoft.com/office/drawing/2014/main" id="{2406CDA1-CA98-4B51-8F01-71DC3DCEC4CD}"/>
              </a:ext>
            </a:extLst>
          </p:cNvPr>
          <p:cNvSpPr/>
          <p:nvPr/>
        </p:nvSpPr>
        <p:spPr>
          <a:xfrm>
            <a:off x="46951" y="4551946"/>
            <a:ext cx="2679769" cy="806848"/>
          </a:xfrm>
          <a:prstGeom prst="flowChartAlternateProcess">
            <a:avLst/>
          </a:prstGeom>
          <a:solidFill>
            <a:schemeClr val="bg1"/>
          </a:solidFill>
          <a:ln w="19050">
            <a:gradFill>
              <a:gsLst>
                <a:gs pos="100000">
                  <a:srgbClr val="2A6BCB"/>
                </a:gs>
                <a:gs pos="0">
                  <a:srgbClr val="00B0F0"/>
                </a:gs>
              </a:gsLst>
              <a:lin ang="5400000" scaled="1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80998" tIns="40499" rIns="80998" bIns="4049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ru-RU" sz="1000" b="1" dirty="0">
                <a:solidFill>
                  <a:srgbClr val="00468D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Диспансер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000" b="1" dirty="0">
                <a:solidFill>
                  <a:srgbClr val="00468D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«</a:t>
            </a:r>
            <a:r>
              <a:rPr lang="ru-RU" sz="1000" b="1" dirty="0" err="1">
                <a:solidFill>
                  <a:srgbClr val="00468D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Диспансерлік</a:t>
            </a:r>
            <a:r>
              <a:rPr lang="ru-RU" sz="1000" b="1" dirty="0">
                <a:solidFill>
                  <a:srgbClr val="00468D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000" b="1" dirty="0" err="1">
                <a:solidFill>
                  <a:srgbClr val="00468D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ауқастардың</a:t>
            </a:r>
            <a:r>
              <a:rPr lang="ru-RU" sz="1000" b="1" dirty="0">
                <a:solidFill>
                  <a:srgbClr val="00468D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000" b="1" dirty="0" err="1">
                <a:solidFill>
                  <a:srgbClr val="00468D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іркелімі</a:t>
            </a:r>
            <a:r>
              <a:rPr lang="ru-RU" sz="1000" b="1" dirty="0">
                <a:solidFill>
                  <a:srgbClr val="00468D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«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000" b="1" dirty="0">
                <a:solidFill>
                  <a:srgbClr val="00468D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«</a:t>
            </a:r>
            <a:r>
              <a:rPr lang="ru-RU" sz="1000" b="1" dirty="0" err="1">
                <a:solidFill>
                  <a:srgbClr val="00468D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нкологиялық</a:t>
            </a:r>
            <a:r>
              <a:rPr lang="ru-RU" sz="1000" b="1" dirty="0">
                <a:solidFill>
                  <a:srgbClr val="00468D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000" b="1" dirty="0" err="1">
                <a:solidFill>
                  <a:srgbClr val="00468D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ауқастардың</a:t>
            </a:r>
            <a:r>
              <a:rPr lang="ru-RU" sz="1000" b="1" dirty="0">
                <a:solidFill>
                  <a:srgbClr val="00468D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000" b="1" dirty="0" err="1">
                <a:solidFill>
                  <a:srgbClr val="00468D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іркелімі</a:t>
            </a:r>
            <a:r>
              <a:rPr lang="ru-RU" sz="1000" b="1" dirty="0">
                <a:solidFill>
                  <a:srgbClr val="00468D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» (</a:t>
            </a:r>
            <a:r>
              <a:rPr lang="ru-RU" sz="1000" b="1" dirty="0" err="1">
                <a:solidFill>
                  <a:srgbClr val="00468D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өндірістік</a:t>
            </a:r>
            <a:r>
              <a:rPr lang="ru-RU" sz="1000" b="1" dirty="0">
                <a:solidFill>
                  <a:srgbClr val="00468D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блок)</a:t>
            </a:r>
          </a:p>
        </p:txBody>
      </p:sp>
      <p:sp>
        <p:nvSpPr>
          <p:cNvPr id="43" name="Блок-схема: альтернативный процесс 42">
            <a:extLst>
              <a:ext uri="{FF2B5EF4-FFF2-40B4-BE49-F238E27FC236}">
                <a16:creationId xmlns:a16="http://schemas.microsoft.com/office/drawing/2014/main" id="{43D4A5B6-0F4F-41AE-94E9-62A931FC4500}"/>
              </a:ext>
            </a:extLst>
          </p:cNvPr>
          <p:cNvSpPr/>
          <p:nvPr/>
        </p:nvSpPr>
        <p:spPr>
          <a:xfrm>
            <a:off x="6346359" y="4060252"/>
            <a:ext cx="2535107" cy="275585"/>
          </a:xfrm>
          <a:prstGeom prst="flowChartAlternateProcess">
            <a:avLst/>
          </a:prstGeom>
          <a:solidFill>
            <a:schemeClr val="bg1"/>
          </a:solidFill>
          <a:ln w="19050">
            <a:gradFill>
              <a:gsLst>
                <a:gs pos="100000">
                  <a:srgbClr val="2A6BCB"/>
                </a:gs>
                <a:gs pos="0">
                  <a:srgbClr val="00B0F0"/>
                </a:gs>
              </a:gsLst>
              <a:lin ang="5400000" scaled="1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80998" tIns="40499" rIns="80998" bIns="4049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ru-RU" sz="1000" b="1" dirty="0">
                <a:solidFill>
                  <a:srgbClr val="00468D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«</a:t>
            </a:r>
            <a:r>
              <a:rPr lang="ru-RU" sz="1000" b="1" dirty="0" err="1">
                <a:solidFill>
                  <a:srgbClr val="00468D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үкті</a:t>
            </a:r>
            <a:r>
              <a:rPr lang="ru-RU" sz="1000" b="1" dirty="0">
                <a:solidFill>
                  <a:srgbClr val="00468D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000" b="1" dirty="0" err="1">
                <a:solidFill>
                  <a:srgbClr val="00468D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әйелдер</a:t>
            </a:r>
            <a:r>
              <a:rPr lang="ru-RU" sz="1000" b="1" dirty="0">
                <a:solidFill>
                  <a:srgbClr val="00468D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000" b="1" dirty="0" err="1">
                <a:solidFill>
                  <a:srgbClr val="00468D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іркелімі</a:t>
            </a:r>
            <a:r>
              <a:rPr lang="ru-RU" sz="1000" b="1" dirty="0">
                <a:solidFill>
                  <a:srgbClr val="00468D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»</a:t>
            </a:r>
            <a:endParaRPr lang="ru-RU" sz="1000" dirty="0">
              <a:solidFill>
                <a:srgbClr val="00468D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4" name="Блок-схема: альтернативный процесс 43">
            <a:extLst>
              <a:ext uri="{FF2B5EF4-FFF2-40B4-BE49-F238E27FC236}">
                <a16:creationId xmlns:a16="http://schemas.microsoft.com/office/drawing/2014/main" id="{3F237844-63E3-4FC4-AACE-5365B6763B8E}"/>
              </a:ext>
            </a:extLst>
          </p:cNvPr>
          <p:cNvSpPr/>
          <p:nvPr/>
        </p:nvSpPr>
        <p:spPr>
          <a:xfrm>
            <a:off x="6332643" y="3528428"/>
            <a:ext cx="2548824" cy="339374"/>
          </a:xfrm>
          <a:prstGeom prst="flowChartAlternateProcess">
            <a:avLst/>
          </a:prstGeom>
          <a:solidFill>
            <a:schemeClr val="bg1"/>
          </a:solidFill>
          <a:ln w="19050">
            <a:gradFill>
              <a:gsLst>
                <a:gs pos="100000">
                  <a:srgbClr val="2A6BCB"/>
                </a:gs>
                <a:gs pos="0">
                  <a:srgbClr val="00B0F0"/>
                </a:gs>
              </a:gsLst>
              <a:lin ang="5400000" scaled="1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80998" tIns="40499" rIns="80998" bIns="4049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ru-RU" sz="1000" b="1" dirty="0">
                <a:solidFill>
                  <a:srgbClr val="00468D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«</a:t>
            </a:r>
            <a:r>
              <a:rPr lang="ru-RU" sz="1000" b="1" dirty="0" err="1">
                <a:solidFill>
                  <a:srgbClr val="00468D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нкологиялық</a:t>
            </a:r>
            <a:r>
              <a:rPr lang="ru-RU" sz="1000" b="1" dirty="0">
                <a:solidFill>
                  <a:srgbClr val="00468D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000" b="1" dirty="0" err="1">
                <a:solidFill>
                  <a:srgbClr val="00468D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ауқастардың</a:t>
            </a:r>
            <a:r>
              <a:rPr lang="ru-RU" sz="1000" b="1" dirty="0">
                <a:solidFill>
                  <a:srgbClr val="00468D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000" b="1" dirty="0" err="1">
                <a:solidFill>
                  <a:srgbClr val="00468D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іркелімі</a:t>
            </a:r>
            <a:r>
              <a:rPr lang="ru-RU" sz="1000" b="1" dirty="0">
                <a:solidFill>
                  <a:srgbClr val="00468D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»</a:t>
            </a:r>
          </a:p>
        </p:txBody>
      </p:sp>
      <p:sp>
        <p:nvSpPr>
          <p:cNvPr id="46" name="Цилиндр 45">
            <a:extLst>
              <a:ext uri="{FF2B5EF4-FFF2-40B4-BE49-F238E27FC236}">
                <a16:creationId xmlns:a16="http://schemas.microsoft.com/office/drawing/2014/main" id="{C83A325A-190E-47C4-A686-57BA655A151A}"/>
              </a:ext>
            </a:extLst>
          </p:cNvPr>
          <p:cNvSpPr/>
          <p:nvPr/>
        </p:nvSpPr>
        <p:spPr>
          <a:xfrm>
            <a:off x="1945048" y="6321051"/>
            <a:ext cx="2349793" cy="980251"/>
          </a:xfrm>
          <a:prstGeom prst="can">
            <a:avLst/>
          </a:prstGeom>
          <a:solidFill>
            <a:srgbClr val="00B0F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80998" tIns="40499" rIns="80998" bIns="4049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063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ИНТЕРОПЕРАБЕЛЬДІЛІК ПЛАТФОРМАСЫ</a:t>
            </a:r>
            <a:r>
              <a:rPr lang="ru-RU" sz="974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 </a:t>
            </a:r>
          </a:p>
        </p:txBody>
      </p:sp>
      <p:cxnSp>
        <p:nvCxnSpPr>
          <p:cNvPr id="48" name="Прямая со стрелкой 47">
            <a:extLst>
              <a:ext uri="{FF2B5EF4-FFF2-40B4-BE49-F238E27FC236}">
                <a16:creationId xmlns:a16="http://schemas.microsoft.com/office/drawing/2014/main" id="{7A6D0161-E062-4A0C-9D5B-276F18FD0374}"/>
              </a:ext>
            </a:extLst>
          </p:cNvPr>
          <p:cNvCxnSpPr>
            <a:cxnSpLocks/>
            <a:stCxn id="81" idx="3"/>
          </p:cNvCxnSpPr>
          <p:nvPr/>
        </p:nvCxnSpPr>
        <p:spPr>
          <a:xfrm>
            <a:off x="2741875" y="2239820"/>
            <a:ext cx="476542" cy="69921"/>
          </a:xfrm>
          <a:prstGeom prst="straightConnector1">
            <a:avLst/>
          </a:prstGeom>
          <a:ln w="28575">
            <a:solidFill>
              <a:srgbClr val="00468D"/>
            </a:solidFill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49" name="Прямая со стрелкой 48">
            <a:extLst>
              <a:ext uri="{FF2B5EF4-FFF2-40B4-BE49-F238E27FC236}">
                <a16:creationId xmlns:a16="http://schemas.microsoft.com/office/drawing/2014/main" id="{4CC10F88-159B-4CDA-8E72-58D367A98224}"/>
              </a:ext>
            </a:extLst>
          </p:cNvPr>
          <p:cNvCxnSpPr>
            <a:cxnSpLocks/>
          </p:cNvCxnSpPr>
          <p:nvPr/>
        </p:nvCxnSpPr>
        <p:spPr>
          <a:xfrm flipV="1">
            <a:off x="2733151" y="3669627"/>
            <a:ext cx="545221" cy="216"/>
          </a:xfrm>
          <a:prstGeom prst="straightConnector1">
            <a:avLst/>
          </a:prstGeom>
          <a:ln w="28575">
            <a:solidFill>
              <a:srgbClr val="00468D"/>
            </a:solidFill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52" name="Прямая со стрелкой 51">
            <a:extLst>
              <a:ext uri="{FF2B5EF4-FFF2-40B4-BE49-F238E27FC236}">
                <a16:creationId xmlns:a16="http://schemas.microsoft.com/office/drawing/2014/main" id="{81F6403A-B207-4D45-8C15-FA429203069E}"/>
              </a:ext>
            </a:extLst>
          </p:cNvPr>
          <p:cNvCxnSpPr>
            <a:cxnSpLocks/>
          </p:cNvCxnSpPr>
          <p:nvPr/>
        </p:nvCxnSpPr>
        <p:spPr>
          <a:xfrm flipH="1">
            <a:off x="5823929" y="4250309"/>
            <a:ext cx="466863" cy="0"/>
          </a:xfrm>
          <a:prstGeom prst="straightConnector1">
            <a:avLst/>
          </a:prstGeom>
          <a:ln w="28575">
            <a:solidFill>
              <a:srgbClr val="00468D"/>
            </a:solidFill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62" name="Прямая со стрелкой 61">
            <a:extLst>
              <a:ext uri="{FF2B5EF4-FFF2-40B4-BE49-F238E27FC236}">
                <a16:creationId xmlns:a16="http://schemas.microsoft.com/office/drawing/2014/main" id="{88B2E5B2-06EB-417F-8952-486EEF3BAB65}"/>
              </a:ext>
            </a:extLst>
          </p:cNvPr>
          <p:cNvCxnSpPr>
            <a:cxnSpLocks/>
          </p:cNvCxnSpPr>
          <p:nvPr/>
        </p:nvCxnSpPr>
        <p:spPr>
          <a:xfrm flipH="1">
            <a:off x="5833451" y="4700769"/>
            <a:ext cx="457341" cy="0"/>
          </a:xfrm>
          <a:prstGeom prst="straightConnector1">
            <a:avLst/>
          </a:prstGeom>
          <a:ln w="28575">
            <a:solidFill>
              <a:srgbClr val="00468D"/>
            </a:solidFill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64" name="Прямая со стрелкой 63">
            <a:extLst>
              <a:ext uri="{FF2B5EF4-FFF2-40B4-BE49-F238E27FC236}">
                <a16:creationId xmlns:a16="http://schemas.microsoft.com/office/drawing/2014/main" id="{4157733B-6EEA-4A23-9B46-4E9509520C4D}"/>
              </a:ext>
            </a:extLst>
          </p:cNvPr>
          <p:cNvCxnSpPr>
            <a:cxnSpLocks/>
          </p:cNvCxnSpPr>
          <p:nvPr/>
        </p:nvCxnSpPr>
        <p:spPr>
          <a:xfrm flipH="1">
            <a:off x="5833449" y="5320342"/>
            <a:ext cx="457343" cy="0"/>
          </a:xfrm>
          <a:prstGeom prst="straightConnector1">
            <a:avLst/>
          </a:prstGeom>
          <a:ln w="28575">
            <a:solidFill>
              <a:srgbClr val="00468D"/>
            </a:solidFill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66" name="Прямая со стрелкой 65">
            <a:extLst>
              <a:ext uri="{FF2B5EF4-FFF2-40B4-BE49-F238E27FC236}">
                <a16:creationId xmlns:a16="http://schemas.microsoft.com/office/drawing/2014/main" id="{F89ED88E-6061-4EBE-ADC3-0A944D862A95}"/>
              </a:ext>
            </a:extLst>
          </p:cNvPr>
          <p:cNvCxnSpPr>
            <a:cxnSpLocks/>
            <a:stCxn id="86" idx="1"/>
          </p:cNvCxnSpPr>
          <p:nvPr/>
        </p:nvCxnSpPr>
        <p:spPr>
          <a:xfrm flipH="1" flipV="1">
            <a:off x="5801710" y="5728138"/>
            <a:ext cx="527182" cy="355497"/>
          </a:xfrm>
          <a:prstGeom prst="straightConnector1">
            <a:avLst/>
          </a:prstGeom>
          <a:ln w="28575">
            <a:solidFill>
              <a:srgbClr val="00468D"/>
            </a:solidFill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67" name="Прямая со стрелкой 66">
            <a:extLst>
              <a:ext uri="{FF2B5EF4-FFF2-40B4-BE49-F238E27FC236}">
                <a16:creationId xmlns:a16="http://schemas.microsoft.com/office/drawing/2014/main" id="{8E579340-49BE-4BF4-9FA4-59813986A145}"/>
              </a:ext>
            </a:extLst>
          </p:cNvPr>
          <p:cNvCxnSpPr>
            <a:cxnSpLocks/>
          </p:cNvCxnSpPr>
          <p:nvPr/>
        </p:nvCxnSpPr>
        <p:spPr>
          <a:xfrm flipV="1">
            <a:off x="2793470" y="5684174"/>
            <a:ext cx="518232" cy="243198"/>
          </a:xfrm>
          <a:prstGeom prst="straightConnector1">
            <a:avLst/>
          </a:prstGeom>
          <a:ln w="28575">
            <a:solidFill>
              <a:srgbClr val="00468D"/>
            </a:solidFill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69" name="Блок-схема: альтернативный процесс 68">
            <a:extLst>
              <a:ext uri="{FF2B5EF4-FFF2-40B4-BE49-F238E27FC236}">
                <a16:creationId xmlns:a16="http://schemas.microsoft.com/office/drawing/2014/main" id="{5A23A288-E9EA-42E3-A80C-29499028C27D}"/>
              </a:ext>
            </a:extLst>
          </p:cNvPr>
          <p:cNvSpPr/>
          <p:nvPr/>
        </p:nvSpPr>
        <p:spPr>
          <a:xfrm>
            <a:off x="5085181" y="6344071"/>
            <a:ext cx="1535969" cy="930238"/>
          </a:xfrm>
          <a:prstGeom prst="flowChartAlternateProcess">
            <a:avLst/>
          </a:prstGeom>
          <a:solidFill>
            <a:srgbClr val="00B0F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73480" tIns="36740" rIns="73480" bIns="367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409011" indent="-161300" algn="ctr"/>
            <a:endParaRPr lang="ru-RU" sz="884" b="1" dirty="0">
              <a:solidFill>
                <a:srgbClr val="00468D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70" name="Прямоугольник 69">
            <a:extLst>
              <a:ext uri="{FF2B5EF4-FFF2-40B4-BE49-F238E27FC236}">
                <a16:creationId xmlns:a16="http://schemas.microsoft.com/office/drawing/2014/main" id="{98EA152E-9E04-4800-A9BD-A7C35E26B007}"/>
              </a:ext>
            </a:extLst>
          </p:cNvPr>
          <p:cNvSpPr/>
          <p:nvPr/>
        </p:nvSpPr>
        <p:spPr>
          <a:xfrm>
            <a:off x="5077232" y="6595745"/>
            <a:ext cx="1213689" cy="430887"/>
          </a:xfrm>
          <a:prstGeom prst="rect">
            <a:avLst/>
          </a:prstGeom>
          <a:ln w="28575">
            <a:noFill/>
          </a:ln>
        </p:spPr>
        <p:txBody>
          <a:bodyPr wrap="square">
            <a:spAutoFit/>
          </a:bodyPr>
          <a:lstStyle/>
          <a:p>
            <a:pPr marL="409011" indent="-161300" algn="ctr"/>
            <a:r>
              <a:rPr lang="en-US" sz="1100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MART</a:t>
            </a:r>
          </a:p>
          <a:p>
            <a:pPr marL="409011" indent="-161300" algn="ctr"/>
            <a:r>
              <a:rPr lang="en-US" sz="1100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BRIDGE</a:t>
            </a:r>
            <a:endParaRPr lang="ru-RU" sz="1050" b="1" dirty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grpSp>
        <p:nvGrpSpPr>
          <p:cNvPr id="71" name="Группа 70">
            <a:extLst>
              <a:ext uri="{FF2B5EF4-FFF2-40B4-BE49-F238E27FC236}">
                <a16:creationId xmlns:a16="http://schemas.microsoft.com/office/drawing/2014/main" id="{429983A1-B340-4B26-88FF-E3171B45815A}"/>
              </a:ext>
            </a:extLst>
          </p:cNvPr>
          <p:cNvGrpSpPr/>
          <p:nvPr/>
        </p:nvGrpSpPr>
        <p:grpSpPr>
          <a:xfrm>
            <a:off x="6621150" y="6534450"/>
            <a:ext cx="740193" cy="521891"/>
            <a:chOff x="3615008" y="3033131"/>
            <a:chExt cx="395940" cy="1671530"/>
          </a:xfrm>
        </p:grpSpPr>
        <p:cxnSp>
          <p:nvCxnSpPr>
            <p:cNvPr id="72" name="Прямая со стрелкой 71">
              <a:extLst>
                <a:ext uri="{FF2B5EF4-FFF2-40B4-BE49-F238E27FC236}">
                  <a16:creationId xmlns:a16="http://schemas.microsoft.com/office/drawing/2014/main" id="{9A868438-0FCB-472D-AF6D-FD1F6656640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615008" y="3033131"/>
              <a:ext cx="395939" cy="7825"/>
            </a:xfrm>
            <a:prstGeom prst="straightConnector1">
              <a:avLst/>
            </a:prstGeom>
            <a:ln w="28575">
              <a:solidFill>
                <a:srgbClr val="404CA0"/>
              </a:solidFill>
              <a:headEnd type="triangle"/>
              <a:tailEnd type="triangle"/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Прямая со стрелкой 72">
              <a:extLst>
                <a:ext uri="{FF2B5EF4-FFF2-40B4-BE49-F238E27FC236}">
                  <a16:creationId xmlns:a16="http://schemas.microsoft.com/office/drawing/2014/main" id="{07A82EB2-EAAC-45F6-81D2-AEF85351E00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615008" y="3887962"/>
              <a:ext cx="395939" cy="4449"/>
            </a:xfrm>
            <a:prstGeom prst="straightConnector1">
              <a:avLst/>
            </a:prstGeom>
            <a:ln w="28575">
              <a:solidFill>
                <a:srgbClr val="404CA0"/>
              </a:solidFill>
              <a:headEnd type="triangle"/>
              <a:tailEnd type="triangle"/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Прямая со стрелкой 73">
              <a:extLst>
                <a:ext uri="{FF2B5EF4-FFF2-40B4-BE49-F238E27FC236}">
                  <a16:creationId xmlns:a16="http://schemas.microsoft.com/office/drawing/2014/main" id="{FE890D89-60C8-46BC-96E5-3995A0121E0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615009" y="4700212"/>
              <a:ext cx="395939" cy="4449"/>
            </a:xfrm>
            <a:prstGeom prst="straightConnector1">
              <a:avLst/>
            </a:prstGeom>
            <a:ln w="28575">
              <a:solidFill>
                <a:srgbClr val="404CA0"/>
              </a:solidFill>
              <a:headEnd type="triangle"/>
              <a:tailEnd type="triangle"/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75" name="Прямая со стрелкой 74">
            <a:extLst>
              <a:ext uri="{FF2B5EF4-FFF2-40B4-BE49-F238E27FC236}">
                <a16:creationId xmlns:a16="http://schemas.microsoft.com/office/drawing/2014/main" id="{9217C58A-F291-40D1-99A6-9C329EF05CD8}"/>
              </a:ext>
            </a:extLst>
          </p:cNvPr>
          <p:cNvCxnSpPr>
            <a:cxnSpLocks/>
          </p:cNvCxnSpPr>
          <p:nvPr/>
        </p:nvCxnSpPr>
        <p:spPr>
          <a:xfrm>
            <a:off x="4332697" y="6863180"/>
            <a:ext cx="691955" cy="1"/>
          </a:xfrm>
          <a:prstGeom prst="straightConnector1">
            <a:avLst/>
          </a:prstGeom>
          <a:ln w="28575">
            <a:solidFill>
              <a:srgbClr val="007FCB"/>
            </a:solidFill>
            <a:headEnd type="triangle"/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76" name="Прямоугольник 75">
            <a:extLst>
              <a:ext uri="{FF2B5EF4-FFF2-40B4-BE49-F238E27FC236}">
                <a16:creationId xmlns:a16="http://schemas.microsoft.com/office/drawing/2014/main" id="{D4415E0F-C5A2-4050-AD92-EE4CD2332969}"/>
              </a:ext>
            </a:extLst>
          </p:cNvPr>
          <p:cNvSpPr/>
          <p:nvPr/>
        </p:nvSpPr>
        <p:spPr>
          <a:xfrm>
            <a:off x="7350961" y="6409711"/>
            <a:ext cx="554960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100" b="1" dirty="0">
                <a:solidFill>
                  <a:srgbClr val="00468D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АЖ</a:t>
            </a:r>
            <a:endParaRPr lang="ru-RU" sz="1050" b="1" dirty="0">
              <a:solidFill>
                <a:srgbClr val="00468D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77" name="Прямоугольник 76">
            <a:extLst>
              <a:ext uri="{FF2B5EF4-FFF2-40B4-BE49-F238E27FC236}">
                <a16:creationId xmlns:a16="http://schemas.microsoft.com/office/drawing/2014/main" id="{A1F57555-2024-4A1A-A2B5-A23899526E79}"/>
              </a:ext>
            </a:extLst>
          </p:cNvPr>
          <p:cNvSpPr/>
          <p:nvPr/>
        </p:nvSpPr>
        <p:spPr>
          <a:xfrm>
            <a:off x="7350961" y="6673049"/>
            <a:ext cx="554960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100" b="1" dirty="0">
                <a:solidFill>
                  <a:srgbClr val="00468D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АЖ</a:t>
            </a:r>
            <a:endParaRPr lang="ru-RU" sz="1050" b="1" dirty="0">
              <a:solidFill>
                <a:srgbClr val="00468D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78" name="Прямоугольник 77">
            <a:extLst>
              <a:ext uri="{FF2B5EF4-FFF2-40B4-BE49-F238E27FC236}">
                <a16:creationId xmlns:a16="http://schemas.microsoft.com/office/drawing/2014/main" id="{8B01BDC3-63A7-4F89-943B-8F11031C2F5A}"/>
              </a:ext>
            </a:extLst>
          </p:cNvPr>
          <p:cNvSpPr/>
          <p:nvPr/>
        </p:nvSpPr>
        <p:spPr>
          <a:xfrm>
            <a:off x="7350961" y="6936387"/>
            <a:ext cx="554960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100" b="1" dirty="0">
                <a:solidFill>
                  <a:srgbClr val="00468D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АЖ</a:t>
            </a:r>
            <a:endParaRPr lang="ru-RU" sz="1050" b="1" dirty="0">
              <a:solidFill>
                <a:srgbClr val="00468D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79" name="Блок-схема: альтернативный процесс 78">
            <a:extLst>
              <a:ext uri="{FF2B5EF4-FFF2-40B4-BE49-F238E27FC236}">
                <a16:creationId xmlns:a16="http://schemas.microsoft.com/office/drawing/2014/main" id="{28D7A644-9E09-456A-AC09-1E37849EFA79}"/>
              </a:ext>
            </a:extLst>
          </p:cNvPr>
          <p:cNvSpPr/>
          <p:nvPr/>
        </p:nvSpPr>
        <p:spPr>
          <a:xfrm>
            <a:off x="6360077" y="4553805"/>
            <a:ext cx="2521389" cy="269855"/>
          </a:xfrm>
          <a:prstGeom prst="flowChartAlternateProcess">
            <a:avLst/>
          </a:prstGeom>
          <a:solidFill>
            <a:schemeClr val="bg1"/>
          </a:solidFill>
          <a:ln w="19050">
            <a:gradFill>
              <a:gsLst>
                <a:gs pos="100000">
                  <a:srgbClr val="2A6BCB"/>
                </a:gs>
                <a:gs pos="0">
                  <a:srgbClr val="00B0F0"/>
                </a:gs>
              </a:gsLst>
              <a:lin ang="5400000" scaled="1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80998" tIns="40499" rIns="80998" bIns="4049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ru-RU" sz="1000" b="1" dirty="0" err="1">
                <a:solidFill>
                  <a:srgbClr val="00468D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атронаждық</a:t>
            </a:r>
            <a:r>
              <a:rPr lang="ru-RU" sz="1000" b="1" dirty="0">
                <a:solidFill>
                  <a:srgbClr val="00468D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000" b="1" dirty="0" err="1">
                <a:solidFill>
                  <a:srgbClr val="00468D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ейіргер</a:t>
            </a:r>
            <a:r>
              <a:rPr lang="ru-RU" sz="1000" b="1" dirty="0">
                <a:solidFill>
                  <a:srgbClr val="00468D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</a:p>
        </p:txBody>
      </p:sp>
      <p:sp>
        <p:nvSpPr>
          <p:cNvPr id="81" name="Скругленный прямоугольник 17">
            <a:extLst>
              <a:ext uri="{FF2B5EF4-FFF2-40B4-BE49-F238E27FC236}">
                <a16:creationId xmlns:a16="http://schemas.microsoft.com/office/drawing/2014/main" id="{08C7DB91-8D67-4C76-B1D4-5DE8B569C340}"/>
              </a:ext>
            </a:extLst>
          </p:cNvPr>
          <p:cNvSpPr/>
          <p:nvPr/>
        </p:nvSpPr>
        <p:spPr>
          <a:xfrm>
            <a:off x="62106" y="1776906"/>
            <a:ext cx="2679769" cy="925828"/>
          </a:xfrm>
          <a:prstGeom prst="roundRect">
            <a:avLst/>
          </a:prstGeom>
          <a:solidFill>
            <a:schemeClr val="bg1"/>
          </a:solidFill>
          <a:ln w="19050">
            <a:gradFill>
              <a:gsLst>
                <a:gs pos="100000">
                  <a:srgbClr val="2A6BCB"/>
                </a:gs>
                <a:gs pos="0">
                  <a:srgbClr val="00B0F0"/>
                </a:gs>
              </a:gsLst>
              <a:lin ang="5400000" scaled="1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80998" tIns="40499" rIns="80998" bIns="4049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ru-RU" sz="1000" b="1" dirty="0">
                <a:solidFill>
                  <a:srgbClr val="00468D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тационар </a:t>
            </a:r>
            <a:r>
              <a:rPr lang="ru-RU" sz="1000" dirty="0" err="1">
                <a:solidFill>
                  <a:srgbClr val="00468D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ыналарды</a:t>
            </a:r>
            <a:r>
              <a:rPr lang="ru-RU" sz="1000" dirty="0">
                <a:solidFill>
                  <a:srgbClr val="00468D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000" dirty="0" err="1">
                <a:solidFill>
                  <a:srgbClr val="00468D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қамтиды</a:t>
            </a:r>
            <a:r>
              <a:rPr lang="ru-RU" sz="1000" dirty="0">
                <a:solidFill>
                  <a:srgbClr val="00468D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000" b="1" dirty="0">
                <a:solidFill>
                  <a:srgbClr val="00468D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«</a:t>
            </a:r>
            <a:r>
              <a:rPr lang="ru-RU" sz="1000" b="1" dirty="0" err="1">
                <a:solidFill>
                  <a:srgbClr val="00468D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Емдеуге</a:t>
            </a:r>
            <a:r>
              <a:rPr lang="ru-RU" sz="1000" b="1" dirty="0">
                <a:solidFill>
                  <a:srgbClr val="00468D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000" b="1" dirty="0" err="1">
                <a:solidFill>
                  <a:srgbClr val="00468D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атқызу</a:t>
            </a:r>
            <a:r>
              <a:rPr lang="ru-RU" sz="1000" b="1" dirty="0">
                <a:solidFill>
                  <a:srgbClr val="00468D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000" b="1" dirty="0" err="1">
                <a:solidFill>
                  <a:srgbClr val="00468D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бюросы</a:t>
            </a:r>
            <a:r>
              <a:rPr lang="ru-RU" sz="1000" b="1" dirty="0">
                <a:solidFill>
                  <a:srgbClr val="00468D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«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000" b="1" dirty="0">
                <a:solidFill>
                  <a:srgbClr val="00468D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«</a:t>
            </a:r>
            <a:r>
              <a:rPr lang="ru-RU" sz="1000" b="1" dirty="0" err="1">
                <a:solidFill>
                  <a:srgbClr val="00468D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тационарлық</a:t>
            </a:r>
            <a:r>
              <a:rPr lang="ru-RU" sz="1000" b="1" dirty="0">
                <a:solidFill>
                  <a:srgbClr val="00468D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000" b="1" dirty="0" err="1">
                <a:solidFill>
                  <a:srgbClr val="00468D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ауқастардың</a:t>
            </a:r>
            <a:r>
              <a:rPr lang="ru-RU" sz="1000" b="1" dirty="0">
                <a:solidFill>
                  <a:srgbClr val="00468D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000" b="1" dirty="0" err="1">
                <a:solidFill>
                  <a:srgbClr val="00468D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іркелімі</a:t>
            </a:r>
            <a:r>
              <a:rPr lang="ru-RU" sz="1000" b="1" dirty="0">
                <a:solidFill>
                  <a:srgbClr val="00468D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«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000" b="1" dirty="0">
                <a:solidFill>
                  <a:srgbClr val="00468D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«</a:t>
            </a:r>
            <a:r>
              <a:rPr lang="ru-RU" sz="1000" b="1" dirty="0" err="1">
                <a:solidFill>
                  <a:srgbClr val="00468D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едел</a:t>
            </a:r>
            <a:r>
              <a:rPr lang="ru-RU" sz="1000" b="1" dirty="0">
                <a:solidFill>
                  <a:srgbClr val="00468D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000" b="1" dirty="0" err="1">
                <a:solidFill>
                  <a:srgbClr val="00468D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оронарлық</a:t>
            </a:r>
            <a:r>
              <a:rPr lang="ru-RU" sz="1000" b="1" dirty="0">
                <a:solidFill>
                  <a:srgbClr val="00468D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синдром </a:t>
            </a:r>
            <a:r>
              <a:rPr lang="ru-RU" sz="1000" b="1" dirty="0" err="1">
                <a:solidFill>
                  <a:srgbClr val="00468D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іркелімі</a:t>
            </a:r>
            <a:r>
              <a:rPr lang="ru-RU" sz="1000" b="1" dirty="0">
                <a:solidFill>
                  <a:srgbClr val="00468D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»</a:t>
            </a:r>
          </a:p>
        </p:txBody>
      </p:sp>
      <p:sp>
        <p:nvSpPr>
          <p:cNvPr id="82" name="Блок-схема: альтернативный процесс 81">
            <a:extLst>
              <a:ext uri="{FF2B5EF4-FFF2-40B4-BE49-F238E27FC236}">
                <a16:creationId xmlns:a16="http://schemas.microsoft.com/office/drawing/2014/main" id="{59AD5EC2-5A92-4303-B8EA-207E6A654613}"/>
              </a:ext>
            </a:extLst>
          </p:cNvPr>
          <p:cNvSpPr/>
          <p:nvPr/>
        </p:nvSpPr>
        <p:spPr>
          <a:xfrm>
            <a:off x="33394" y="3118901"/>
            <a:ext cx="2895223" cy="1078391"/>
          </a:xfrm>
          <a:prstGeom prst="flowChartAlternateProcess">
            <a:avLst/>
          </a:prstGeom>
          <a:solidFill>
            <a:schemeClr val="bg1"/>
          </a:solidFill>
          <a:ln w="19050">
            <a:gradFill>
              <a:gsLst>
                <a:gs pos="100000">
                  <a:srgbClr val="2A6BCB"/>
                </a:gs>
                <a:gs pos="0">
                  <a:srgbClr val="00B0F0"/>
                </a:gs>
              </a:gsLst>
              <a:lin ang="5400000" scaled="1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80998" tIns="40499" rIns="80998" bIns="4049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ru-RU" sz="1000" b="1" dirty="0" err="1">
                <a:solidFill>
                  <a:srgbClr val="00468D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Есеп-қаржы</a:t>
            </a:r>
            <a:r>
              <a:rPr lang="ru-RU" sz="1000" b="1" dirty="0">
                <a:solidFill>
                  <a:srgbClr val="00468D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000" b="1" dirty="0" err="1">
                <a:solidFill>
                  <a:srgbClr val="00468D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үйесі</a:t>
            </a:r>
            <a:r>
              <a:rPr lang="ru-RU" sz="1000" b="1" dirty="0">
                <a:solidFill>
                  <a:srgbClr val="00468D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000" b="1" dirty="0">
                <a:solidFill>
                  <a:srgbClr val="00468D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«</a:t>
            </a:r>
            <a:r>
              <a:rPr lang="ru-RU" sz="1000" b="1" dirty="0" err="1">
                <a:solidFill>
                  <a:srgbClr val="00468D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едициналық</a:t>
            </a:r>
            <a:r>
              <a:rPr lang="ru-RU" sz="1000" b="1" dirty="0">
                <a:solidFill>
                  <a:srgbClr val="00468D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000" b="1" dirty="0" err="1">
                <a:solidFill>
                  <a:srgbClr val="00468D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қызметтердің</a:t>
            </a:r>
            <a:r>
              <a:rPr lang="ru-RU" sz="1000" b="1" dirty="0">
                <a:solidFill>
                  <a:srgbClr val="00468D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000" b="1" dirty="0" err="1">
                <a:solidFill>
                  <a:srgbClr val="00468D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апасын</a:t>
            </a:r>
            <a:r>
              <a:rPr lang="ru-RU" sz="1000" b="1" dirty="0">
                <a:solidFill>
                  <a:srgbClr val="00468D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000" b="1" dirty="0" err="1">
                <a:solidFill>
                  <a:srgbClr val="00468D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басқару</a:t>
            </a:r>
            <a:r>
              <a:rPr lang="ru-RU" sz="1000" b="1" dirty="0">
                <a:solidFill>
                  <a:srgbClr val="00468D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000" b="1" dirty="0" err="1">
                <a:solidFill>
                  <a:srgbClr val="00468D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үйесі</a:t>
            </a:r>
            <a:r>
              <a:rPr lang="ru-RU" sz="1000" b="1" dirty="0">
                <a:solidFill>
                  <a:srgbClr val="00468D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»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000" b="1" dirty="0">
                <a:solidFill>
                  <a:srgbClr val="00468D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«</a:t>
            </a:r>
            <a:r>
              <a:rPr lang="ru-RU" sz="1000" b="1" dirty="0" err="1">
                <a:solidFill>
                  <a:srgbClr val="00468D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Бірыңғай</a:t>
            </a:r>
            <a:r>
              <a:rPr lang="ru-RU" sz="1000" b="1" dirty="0">
                <a:solidFill>
                  <a:srgbClr val="00468D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000" b="1" dirty="0" err="1">
                <a:solidFill>
                  <a:srgbClr val="00468D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өлем</a:t>
            </a:r>
            <a:r>
              <a:rPr lang="ru-RU" sz="1000" b="1" dirty="0">
                <a:solidFill>
                  <a:srgbClr val="00468D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000" b="1" dirty="0" err="1">
                <a:solidFill>
                  <a:srgbClr val="00468D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үйесі</a:t>
            </a:r>
            <a:r>
              <a:rPr lang="ru-RU" sz="1000" b="1" dirty="0">
                <a:solidFill>
                  <a:srgbClr val="00468D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»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000" b="1" dirty="0">
                <a:solidFill>
                  <a:srgbClr val="00468D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«</a:t>
            </a:r>
            <a:r>
              <a:rPr lang="ru-RU" sz="1000" b="1" dirty="0" err="1">
                <a:solidFill>
                  <a:srgbClr val="00468D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нкологиялық</a:t>
            </a:r>
            <a:r>
              <a:rPr lang="ru-RU" sz="1000" b="1" dirty="0">
                <a:solidFill>
                  <a:srgbClr val="00468D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000" b="1" dirty="0" err="1">
                <a:solidFill>
                  <a:srgbClr val="00468D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ауқастардың</a:t>
            </a:r>
            <a:r>
              <a:rPr lang="ru-RU" sz="1000" b="1" dirty="0">
                <a:solidFill>
                  <a:srgbClr val="00468D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000" b="1" dirty="0" err="1">
                <a:solidFill>
                  <a:srgbClr val="00468D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іркелімі</a:t>
            </a:r>
            <a:r>
              <a:rPr lang="ru-RU" sz="1000" b="1" dirty="0">
                <a:solidFill>
                  <a:srgbClr val="00468D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» (</a:t>
            </a:r>
            <a:r>
              <a:rPr lang="kk-KZ" sz="1000" b="1" dirty="0">
                <a:solidFill>
                  <a:srgbClr val="00468D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қаржы</a:t>
            </a:r>
            <a:r>
              <a:rPr lang="ru-RU" sz="1000" b="1" dirty="0">
                <a:solidFill>
                  <a:srgbClr val="00468D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000" b="1" dirty="0" err="1">
                <a:solidFill>
                  <a:srgbClr val="00468D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блогы</a:t>
            </a:r>
            <a:r>
              <a:rPr lang="ru-RU" sz="1000" b="1" dirty="0">
                <a:solidFill>
                  <a:srgbClr val="00468D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000" b="1" dirty="0">
                <a:solidFill>
                  <a:srgbClr val="00468D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САК </a:t>
            </a:r>
            <a:r>
              <a:rPr lang="ru-RU" sz="1000" b="1" dirty="0" err="1">
                <a:solidFill>
                  <a:srgbClr val="00468D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арифіне</a:t>
            </a:r>
            <a:r>
              <a:rPr lang="ru-RU" sz="1000" b="1" dirty="0">
                <a:solidFill>
                  <a:srgbClr val="00468D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000" b="1" dirty="0" err="1">
                <a:solidFill>
                  <a:srgbClr val="00468D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қосымша</a:t>
            </a:r>
            <a:r>
              <a:rPr lang="ru-RU" sz="1000" b="1" dirty="0">
                <a:solidFill>
                  <a:srgbClr val="00468D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компонент</a:t>
            </a:r>
          </a:p>
        </p:txBody>
      </p:sp>
      <p:sp>
        <p:nvSpPr>
          <p:cNvPr id="84" name="Блок-схема: альтернативный процесс 83">
            <a:extLst>
              <a:ext uri="{FF2B5EF4-FFF2-40B4-BE49-F238E27FC236}">
                <a16:creationId xmlns:a16="http://schemas.microsoft.com/office/drawing/2014/main" id="{9F1012BB-88FD-4D4F-8747-F505F2145AC0}"/>
              </a:ext>
            </a:extLst>
          </p:cNvPr>
          <p:cNvSpPr/>
          <p:nvPr/>
        </p:nvSpPr>
        <p:spPr>
          <a:xfrm>
            <a:off x="6317223" y="2987994"/>
            <a:ext cx="2513626" cy="356984"/>
          </a:xfrm>
          <a:prstGeom prst="flowChartAlternateProcess">
            <a:avLst/>
          </a:prstGeom>
          <a:noFill/>
          <a:ln w="1905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80998" tIns="40499" rIns="80998" bIns="4049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07000"/>
              </a:lnSpc>
            </a:pPr>
            <a:r>
              <a:rPr lang="ru-RU" sz="1000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</a:t>
            </a:r>
            <a:r>
              <a:rPr lang="kk-KZ" sz="1000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іркеу</a:t>
            </a:r>
            <a:r>
              <a:rPr lang="ru-RU" sz="1000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 80%</a:t>
            </a:r>
          </a:p>
        </p:txBody>
      </p:sp>
      <p:sp>
        <p:nvSpPr>
          <p:cNvPr id="85" name="Блок-схема: альтернативный процесс 84">
            <a:extLst>
              <a:ext uri="{FF2B5EF4-FFF2-40B4-BE49-F238E27FC236}">
                <a16:creationId xmlns:a16="http://schemas.microsoft.com/office/drawing/2014/main" id="{8A970A7D-0757-47AC-8A5D-D9887192D6FD}"/>
              </a:ext>
            </a:extLst>
          </p:cNvPr>
          <p:cNvSpPr/>
          <p:nvPr/>
        </p:nvSpPr>
        <p:spPr>
          <a:xfrm>
            <a:off x="6328892" y="4958088"/>
            <a:ext cx="2552232" cy="853845"/>
          </a:xfrm>
          <a:prstGeom prst="flowChartAlternateProcess">
            <a:avLst/>
          </a:prstGeom>
          <a:solidFill>
            <a:schemeClr val="bg1"/>
          </a:solidFill>
          <a:ln w="19050">
            <a:gradFill>
              <a:gsLst>
                <a:gs pos="100000">
                  <a:srgbClr val="2A6BCB"/>
                </a:gs>
                <a:gs pos="0">
                  <a:srgbClr val="00B0F0"/>
                </a:gs>
              </a:gsLst>
              <a:lin ang="5400000" scaled="1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80998" tIns="40499" rIns="80998" bIns="4049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07000"/>
              </a:lnSpc>
            </a:pPr>
            <a:r>
              <a:rPr lang="ru-RU" sz="1000" b="1" dirty="0">
                <a:solidFill>
                  <a:srgbClr val="00468D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Амбулатория</a:t>
            </a:r>
          </a:p>
          <a:p>
            <a:pPr marL="171450" indent="-171450">
              <a:lnSpc>
                <a:spcPct val="107000"/>
              </a:lnSpc>
              <a:buFont typeface="Arial" panose="020B0604020202020204" pitchFamily="34" charset="0"/>
              <a:buChar char="•"/>
            </a:pPr>
            <a:r>
              <a:rPr lang="ru-RU" sz="1000" b="1" dirty="0">
                <a:solidFill>
                  <a:srgbClr val="00468D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«</a:t>
            </a:r>
            <a:r>
              <a:rPr lang="ru-RU" sz="1000" b="1" dirty="0" err="1">
                <a:solidFill>
                  <a:srgbClr val="00468D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Амбулаториялық-емханалық</a:t>
            </a:r>
            <a:r>
              <a:rPr lang="ru-RU" sz="1000" b="1" dirty="0">
                <a:solidFill>
                  <a:srgbClr val="00468D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000" b="1" dirty="0" err="1">
                <a:solidFill>
                  <a:srgbClr val="00468D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өмек</a:t>
            </a:r>
            <a:r>
              <a:rPr lang="ru-RU" sz="1000" b="1" dirty="0">
                <a:solidFill>
                  <a:srgbClr val="00468D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» порталы</a:t>
            </a:r>
          </a:p>
          <a:p>
            <a:pPr marL="171450" indent="-171450">
              <a:lnSpc>
                <a:spcPct val="107000"/>
              </a:lnSpc>
              <a:buFont typeface="Arial" panose="020B0604020202020204" pitchFamily="34" charset="0"/>
              <a:buChar char="•"/>
            </a:pPr>
            <a:r>
              <a:rPr lang="ru-RU" sz="1000" b="1" dirty="0">
                <a:solidFill>
                  <a:srgbClr val="00468D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САК </a:t>
            </a:r>
          </a:p>
          <a:p>
            <a:pPr>
              <a:lnSpc>
                <a:spcPct val="107000"/>
              </a:lnSpc>
            </a:pPr>
            <a:endParaRPr lang="ru-RU" sz="1000" b="1" dirty="0">
              <a:solidFill>
                <a:srgbClr val="00468D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86" name="Блок-схема: альтернативный процесс 85">
            <a:extLst>
              <a:ext uri="{FF2B5EF4-FFF2-40B4-BE49-F238E27FC236}">
                <a16:creationId xmlns:a16="http://schemas.microsoft.com/office/drawing/2014/main" id="{AF637A69-650F-49DB-BAB3-A7FDB43AD480}"/>
              </a:ext>
            </a:extLst>
          </p:cNvPr>
          <p:cNvSpPr/>
          <p:nvPr/>
        </p:nvSpPr>
        <p:spPr>
          <a:xfrm>
            <a:off x="6328892" y="5907422"/>
            <a:ext cx="2107419" cy="352425"/>
          </a:xfrm>
          <a:prstGeom prst="flowChartAlternateProcess">
            <a:avLst/>
          </a:prstGeom>
          <a:solidFill>
            <a:schemeClr val="bg1"/>
          </a:solidFill>
          <a:ln w="19050">
            <a:gradFill>
              <a:gsLst>
                <a:gs pos="100000">
                  <a:srgbClr val="2A6BCB"/>
                </a:gs>
                <a:gs pos="0">
                  <a:srgbClr val="00B0F0"/>
                </a:gs>
              </a:gsLst>
              <a:lin ang="5400000" scaled="1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80998" tIns="40499" rIns="80998" bIns="4049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indent="495300">
              <a:lnSpc>
                <a:spcPct val="107000"/>
              </a:lnSpc>
            </a:pPr>
            <a:r>
              <a:rPr lang="ru-RU" sz="1000" b="1" dirty="0" err="1">
                <a:solidFill>
                  <a:srgbClr val="00468D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Зертхана</a:t>
            </a:r>
            <a:endParaRPr lang="ru-RU" sz="1000" b="1" dirty="0">
              <a:solidFill>
                <a:srgbClr val="00468D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cxnSp>
        <p:nvCxnSpPr>
          <p:cNvPr id="88" name="Прямая со стрелкой 87">
            <a:extLst>
              <a:ext uri="{FF2B5EF4-FFF2-40B4-BE49-F238E27FC236}">
                <a16:creationId xmlns:a16="http://schemas.microsoft.com/office/drawing/2014/main" id="{3E186BAE-2910-4251-B836-889CCAF18C34}"/>
              </a:ext>
            </a:extLst>
          </p:cNvPr>
          <p:cNvCxnSpPr>
            <a:cxnSpLocks/>
          </p:cNvCxnSpPr>
          <p:nvPr/>
        </p:nvCxnSpPr>
        <p:spPr>
          <a:xfrm flipH="1">
            <a:off x="5833449" y="3774380"/>
            <a:ext cx="466863" cy="0"/>
          </a:xfrm>
          <a:prstGeom prst="straightConnector1">
            <a:avLst/>
          </a:prstGeom>
          <a:ln w="28575">
            <a:solidFill>
              <a:srgbClr val="00468D"/>
            </a:solidFill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89" name="Прямая со стрелкой 88">
            <a:extLst>
              <a:ext uri="{FF2B5EF4-FFF2-40B4-BE49-F238E27FC236}">
                <a16:creationId xmlns:a16="http://schemas.microsoft.com/office/drawing/2014/main" id="{7743EAEA-74C0-408F-AE1F-3E8BB9F7C97D}"/>
              </a:ext>
            </a:extLst>
          </p:cNvPr>
          <p:cNvCxnSpPr>
            <a:cxnSpLocks/>
            <a:stCxn id="84" idx="1"/>
          </p:cNvCxnSpPr>
          <p:nvPr/>
        </p:nvCxnSpPr>
        <p:spPr>
          <a:xfrm flipH="1">
            <a:off x="5876785" y="3166486"/>
            <a:ext cx="440438" cy="28442"/>
          </a:xfrm>
          <a:prstGeom prst="straightConnector1">
            <a:avLst/>
          </a:prstGeom>
          <a:ln w="28575">
            <a:solidFill>
              <a:srgbClr val="00468D"/>
            </a:solidFill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90" name="Блок-схема: альтернативный процесс 89">
            <a:extLst>
              <a:ext uri="{FF2B5EF4-FFF2-40B4-BE49-F238E27FC236}">
                <a16:creationId xmlns:a16="http://schemas.microsoft.com/office/drawing/2014/main" id="{1FF1E56B-AF44-4BE6-8494-BE4355613AC5}"/>
              </a:ext>
            </a:extLst>
          </p:cNvPr>
          <p:cNvSpPr/>
          <p:nvPr/>
        </p:nvSpPr>
        <p:spPr>
          <a:xfrm>
            <a:off x="78968" y="5728138"/>
            <a:ext cx="2630127" cy="388733"/>
          </a:xfrm>
          <a:prstGeom prst="flowChartAlternateProcess">
            <a:avLst/>
          </a:prstGeom>
          <a:solidFill>
            <a:srgbClr val="00B050"/>
          </a:solidFill>
          <a:ln w="1905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80998" tIns="40499" rIns="80998" bIns="4049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ru-RU" sz="1000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Вакцинация </a:t>
            </a:r>
            <a:r>
              <a:rPr lang="ru-RU" sz="10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                       </a:t>
            </a:r>
            <a:r>
              <a:rPr lang="ru-RU" sz="1000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00%</a:t>
            </a:r>
          </a:p>
        </p:txBody>
      </p:sp>
      <p:cxnSp>
        <p:nvCxnSpPr>
          <p:cNvPr id="91" name="Прямая со стрелкой 90">
            <a:extLst>
              <a:ext uri="{FF2B5EF4-FFF2-40B4-BE49-F238E27FC236}">
                <a16:creationId xmlns:a16="http://schemas.microsoft.com/office/drawing/2014/main" id="{86003AB6-F9AD-4A4C-82D8-1A1784F98D45}"/>
              </a:ext>
            </a:extLst>
          </p:cNvPr>
          <p:cNvCxnSpPr>
            <a:cxnSpLocks/>
          </p:cNvCxnSpPr>
          <p:nvPr/>
        </p:nvCxnSpPr>
        <p:spPr>
          <a:xfrm flipV="1">
            <a:off x="2753885" y="4960733"/>
            <a:ext cx="545221" cy="216"/>
          </a:xfrm>
          <a:prstGeom prst="straightConnector1">
            <a:avLst/>
          </a:prstGeom>
          <a:ln w="28575">
            <a:solidFill>
              <a:srgbClr val="00468D"/>
            </a:solidFill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85B67B32-519C-4E7F-BF99-07BD932230D0}"/>
              </a:ext>
            </a:extLst>
          </p:cNvPr>
          <p:cNvSpPr/>
          <p:nvPr/>
        </p:nvSpPr>
        <p:spPr>
          <a:xfrm>
            <a:off x="8384630" y="2112862"/>
            <a:ext cx="716328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50" b="1" dirty="0">
                <a:solidFill>
                  <a:srgbClr val="00B05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40%</a:t>
            </a:r>
            <a:endParaRPr lang="ru-RU" sz="1050" b="1" dirty="0">
              <a:solidFill>
                <a:srgbClr val="00B050"/>
              </a:solidFill>
            </a:endParaRPr>
          </a:p>
        </p:txBody>
      </p:sp>
      <p:sp>
        <p:nvSpPr>
          <p:cNvPr id="94" name="Прямоугольник 93">
            <a:extLst>
              <a:ext uri="{FF2B5EF4-FFF2-40B4-BE49-F238E27FC236}">
                <a16:creationId xmlns:a16="http://schemas.microsoft.com/office/drawing/2014/main" id="{CD79D9F8-AEE1-4AF9-AB89-89FA53B649DB}"/>
              </a:ext>
            </a:extLst>
          </p:cNvPr>
          <p:cNvSpPr/>
          <p:nvPr/>
        </p:nvSpPr>
        <p:spPr>
          <a:xfrm>
            <a:off x="3324861" y="1849632"/>
            <a:ext cx="2463069" cy="113717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07000"/>
              </a:lnSpc>
              <a:spcAft>
                <a:spcPts val="709"/>
              </a:spcAft>
            </a:pPr>
            <a:r>
              <a:rPr lang="ru-RU" sz="11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е</a:t>
            </a:r>
            <a:r>
              <a:rPr lang="en-US" sz="11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HEALTH</a:t>
            </a:r>
            <a:r>
              <a:rPr lang="ru-RU" sz="11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ЯДРОСЫ</a:t>
            </a:r>
          </a:p>
          <a:p>
            <a:pPr algn="ctr">
              <a:lnSpc>
                <a:spcPct val="107000"/>
              </a:lnSpc>
            </a:pPr>
            <a:r>
              <a:rPr lang="ru-RU" sz="11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лиенттің</a:t>
            </a:r>
            <a:r>
              <a:rPr lang="ru-RU" sz="11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1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арточкасы</a:t>
            </a:r>
            <a:r>
              <a:rPr lang="ru-RU" sz="11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1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Денсаулықтың</a:t>
            </a:r>
            <a:r>
              <a:rPr lang="ru-RU" sz="11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1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электрондық</a:t>
            </a:r>
            <a:r>
              <a:rPr lang="ru-RU" sz="11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1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аспорты</a:t>
            </a:r>
            <a:r>
              <a:rPr lang="ru-RU" sz="11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</a:p>
          <a:p>
            <a:pPr algn="ctr">
              <a:lnSpc>
                <a:spcPct val="107000"/>
              </a:lnSpc>
            </a:pPr>
            <a:r>
              <a:rPr lang="ru-RU" sz="1400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70%</a:t>
            </a:r>
            <a:endParaRPr lang="ru-RU" sz="1400" b="1" dirty="0">
              <a:solidFill>
                <a:schemeClr val="bg1"/>
              </a:solidFill>
            </a:endParaRPr>
          </a:p>
        </p:txBody>
      </p:sp>
      <p:cxnSp>
        <p:nvCxnSpPr>
          <p:cNvPr id="108" name="Прямая соединительная линия 107">
            <a:extLst>
              <a:ext uri="{FF2B5EF4-FFF2-40B4-BE49-F238E27FC236}">
                <a16:creationId xmlns:a16="http://schemas.microsoft.com/office/drawing/2014/main" id="{EE8D43B9-5E1C-401C-92B9-C9138FAA096D}"/>
              </a:ext>
            </a:extLst>
          </p:cNvPr>
          <p:cNvCxnSpPr>
            <a:cxnSpLocks/>
          </p:cNvCxnSpPr>
          <p:nvPr/>
        </p:nvCxnSpPr>
        <p:spPr>
          <a:xfrm>
            <a:off x="9165734" y="3327749"/>
            <a:ext cx="0" cy="1415384"/>
          </a:xfrm>
          <a:prstGeom prst="line">
            <a:avLst/>
          </a:prstGeom>
          <a:ln w="28575" cap="rnd">
            <a:solidFill>
              <a:srgbClr val="00B0F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9" name="Прямоугольник 108">
            <a:extLst>
              <a:ext uri="{FF2B5EF4-FFF2-40B4-BE49-F238E27FC236}">
                <a16:creationId xmlns:a16="http://schemas.microsoft.com/office/drawing/2014/main" id="{FE7B1BDC-8223-4279-89E4-B56B62742780}"/>
              </a:ext>
            </a:extLst>
          </p:cNvPr>
          <p:cNvSpPr/>
          <p:nvPr/>
        </p:nvSpPr>
        <p:spPr>
          <a:xfrm>
            <a:off x="9367626" y="2575762"/>
            <a:ext cx="1453768" cy="317170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</a:pPr>
            <a:r>
              <a:rPr lang="en-US" sz="11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Ehealth</a:t>
            </a:r>
            <a:r>
              <a:rPr lang="en-US" sz="11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1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ядросының</a:t>
            </a:r>
            <a:r>
              <a:rPr lang="ru-RU" sz="11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1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рталық</a:t>
            </a:r>
            <a:r>
              <a:rPr lang="ru-RU" sz="11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1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омпонентіне</a:t>
            </a:r>
            <a:r>
              <a:rPr lang="ru-RU" sz="11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1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бірқатар</a:t>
            </a:r>
            <a:r>
              <a:rPr lang="ru-RU" sz="11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1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өнімдер</a:t>
            </a:r>
            <a:r>
              <a:rPr lang="ru-RU" sz="11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мен </a:t>
            </a:r>
            <a:r>
              <a:rPr lang="ru-RU" sz="11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азық-түлік</a:t>
            </a:r>
            <a:r>
              <a:rPr lang="ru-RU" sz="11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1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зауыттарын</a:t>
            </a:r>
            <a:r>
              <a:rPr lang="ru-RU" sz="11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1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іске</a:t>
            </a:r>
            <a:r>
              <a:rPr lang="ru-RU" sz="11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1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асыру</a:t>
            </a:r>
            <a:r>
              <a:rPr lang="ru-RU" sz="11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100" b="1" dirty="0">
                <a:solidFill>
                  <a:srgbClr val="019DD8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021 </a:t>
            </a:r>
            <a:r>
              <a:rPr lang="ru-RU" sz="1100" b="1" dirty="0" err="1">
                <a:solidFill>
                  <a:srgbClr val="019DD8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ылдың</a:t>
            </a:r>
            <a:r>
              <a:rPr lang="ru-RU" sz="1100" b="1" dirty="0">
                <a:solidFill>
                  <a:srgbClr val="019DD8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100" b="1" dirty="0" err="1">
                <a:solidFill>
                  <a:srgbClr val="019DD8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оңына</a:t>
            </a:r>
            <a:r>
              <a:rPr lang="ru-RU" sz="1100" b="1" dirty="0">
                <a:solidFill>
                  <a:srgbClr val="019DD8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1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дейін</a:t>
            </a:r>
            <a:r>
              <a:rPr lang="ru-RU" sz="11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1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аяқталады</a:t>
            </a:r>
            <a:r>
              <a:rPr lang="ru-RU" sz="11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1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деп</a:t>
            </a:r>
            <a:r>
              <a:rPr lang="ru-RU" sz="11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1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оспарлануда</a:t>
            </a:r>
            <a:r>
              <a:rPr lang="ru-RU" sz="11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.</a:t>
            </a:r>
          </a:p>
          <a:p>
            <a:pPr>
              <a:lnSpc>
                <a:spcPct val="107000"/>
              </a:lnSpc>
            </a:pPr>
            <a:endParaRPr lang="ru-RU" sz="1100" dirty="0">
              <a:solidFill>
                <a:srgbClr val="019DD8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>
              <a:lnSpc>
                <a:spcPct val="107000"/>
              </a:lnSpc>
            </a:pPr>
            <a:r>
              <a:rPr lang="en-US" sz="11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EHealth </a:t>
            </a:r>
            <a:r>
              <a:rPr lang="ru-RU" sz="1100" b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архитектурасын</a:t>
            </a:r>
            <a:r>
              <a:rPr lang="ru-RU" sz="11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100" b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олық</a:t>
            </a:r>
            <a:r>
              <a:rPr lang="ru-RU" sz="11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100" b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іске</a:t>
            </a:r>
            <a:r>
              <a:rPr lang="ru-RU" sz="11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100" b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асыру</a:t>
            </a:r>
            <a:r>
              <a:rPr lang="ru-RU" sz="11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100" b="1" dirty="0">
                <a:solidFill>
                  <a:srgbClr val="019DD8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022 </a:t>
            </a:r>
            <a:r>
              <a:rPr lang="ru-RU" sz="1100" b="1" dirty="0" err="1">
                <a:solidFill>
                  <a:srgbClr val="019DD8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ылдың</a:t>
            </a:r>
            <a:r>
              <a:rPr lang="ru-RU" sz="1100" b="1" dirty="0">
                <a:solidFill>
                  <a:srgbClr val="019DD8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100" b="1" dirty="0" err="1">
                <a:solidFill>
                  <a:srgbClr val="019DD8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оңына</a:t>
            </a:r>
            <a:r>
              <a:rPr lang="ru-RU" sz="1100" b="1" dirty="0">
                <a:solidFill>
                  <a:srgbClr val="019DD8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100" b="1" dirty="0" err="1">
                <a:solidFill>
                  <a:srgbClr val="019DD8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дейін</a:t>
            </a:r>
            <a:endParaRPr lang="ru-RU" sz="1100" b="1" dirty="0">
              <a:solidFill>
                <a:srgbClr val="019DD8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>
              <a:lnSpc>
                <a:spcPct val="107000"/>
              </a:lnSpc>
            </a:pPr>
            <a:r>
              <a:rPr lang="ru-RU" sz="1100" b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оспарланған</a:t>
            </a:r>
            <a:endParaRPr lang="ru-RU" sz="1100" b="1" dirty="0">
              <a:solidFill>
                <a:srgbClr val="019DD8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grpSp>
        <p:nvGrpSpPr>
          <p:cNvPr id="4" name="Группа 3">
            <a:extLst>
              <a:ext uri="{FF2B5EF4-FFF2-40B4-BE49-F238E27FC236}">
                <a16:creationId xmlns:a16="http://schemas.microsoft.com/office/drawing/2014/main" id="{F6D8185B-5948-4E26-8C7C-8979B485906B}"/>
              </a:ext>
            </a:extLst>
          </p:cNvPr>
          <p:cNvGrpSpPr/>
          <p:nvPr/>
        </p:nvGrpSpPr>
        <p:grpSpPr>
          <a:xfrm>
            <a:off x="9042807" y="4790529"/>
            <a:ext cx="354560" cy="281938"/>
            <a:chOff x="12018380" y="6675911"/>
            <a:chExt cx="523493" cy="416270"/>
          </a:xfrm>
        </p:grpSpPr>
        <p:grpSp>
          <p:nvGrpSpPr>
            <p:cNvPr id="119" name="Группа 118">
              <a:extLst>
                <a:ext uri="{FF2B5EF4-FFF2-40B4-BE49-F238E27FC236}">
                  <a16:creationId xmlns:a16="http://schemas.microsoft.com/office/drawing/2014/main" id="{2C5D491E-92BA-4FA9-A8CC-4D0BA34755FA}"/>
                </a:ext>
              </a:extLst>
            </p:cNvPr>
            <p:cNvGrpSpPr/>
            <p:nvPr/>
          </p:nvGrpSpPr>
          <p:grpSpPr>
            <a:xfrm>
              <a:off x="12018380" y="6675911"/>
              <a:ext cx="523493" cy="416270"/>
              <a:chOff x="622705" y="1899098"/>
              <a:chExt cx="1736162" cy="1380560"/>
            </a:xfrm>
          </p:grpSpPr>
          <p:sp>
            <p:nvSpPr>
              <p:cNvPr id="120" name="Rounded Rectangle 46">
                <a:extLst>
                  <a:ext uri="{FF2B5EF4-FFF2-40B4-BE49-F238E27FC236}">
                    <a16:creationId xmlns:a16="http://schemas.microsoft.com/office/drawing/2014/main" id="{F17E19B9-2EE6-45B3-8BC6-E5BEDF0414F4}"/>
                  </a:ext>
                </a:extLst>
              </p:cNvPr>
              <p:cNvSpPr/>
              <p:nvPr/>
            </p:nvSpPr>
            <p:spPr>
              <a:xfrm rot="18900000">
                <a:off x="964360" y="1899098"/>
                <a:ext cx="1394507" cy="1380560"/>
              </a:xfrm>
              <a:prstGeom prst="roundRect">
                <a:avLst/>
              </a:prstGeom>
              <a:solidFill>
                <a:srgbClr val="F4F4F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200">
                  <a:solidFill>
                    <a:schemeClr val="tx1"/>
                  </a:solidFill>
                </a:endParaRPr>
              </a:p>
            </p:txBody>
          </p:sp>
          <p:sp>
            <p:nvSpPr>
              <p:cNvPr id="121" name="Rounded Rectangle 46">
                <a:extLst>
                  <a:ext uri="{FF2B5EF4-FFF2-40B4-BE49-F238E27FC236}">
                    <a16:creationId xmlns:a16="http://schemas.microsoft.com/office/drawing/2014/main" id="{F338A792-7E96-4AD1-A96A-2097BB10D5FA}"/>
                  </a:ext>
                </a:extLst>
              </p:cNvPr>
              <p:cNvSpPr/>
              <p:nvPr/>
            </p:nvSpPr>
            <p:spPr>
              <a:xfrm rot="18900000">
                <a:off x="622705" y="1899098"/>
                <a:ext cx="1394507" cy="1380560"/>
              </a:xfrm>
              <a:prstGeom prst="roundRect">
                <a:avLst/>
              </a:prstGeom>
              <a:gradFill>
                <a:gsLst>
                  <a:gs pos="0">
                    <a:srgbClr val="0F6FC6"/>
                  </a:gs>
                  <a:gs pos="100000">
                    <a:srgbClr val="0BD0D9"/>
                  </a:gs>
                  <a:gs pos="57000">
                    <a:srgbClr val="019DD8"/>
                  </a:gs>
                </a:gsLst>
                <a:lin ang="4800000" scaled="0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20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122" name="Shape 5411">
              <a:extLst>
                <a:ext uri="{FF2B5EF4-FFF2-40B4-BE49-F238E27FC236}">
                  <a16:creationId xmlns:a16="http://schemas.microsoft.com/office/drawing/2014/main" id="{6D92984E-1291-4E86-ABE0-4F404D67B7FB}"/>
                </a:ext>
              </a:extLst>
            </p:cNvPr>
            <p:cNvSpPr/>
            <p:nvPr/>
          </p:nvSpPr>
          <p:spPr>
            <a:xfrm>
              <a:off x="12104238" y="6791583"/>
              <a:ext cx="252923" cy="19517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234" y="5760"/>
                  </a:moveTo>
                  <a:cubicBezTo>
                    <a:pt x="10983" y="18720"/>
                    <a:pt x="10983" y="18720"/>
                    <a:pt x="10983" y="18720"/>
                  </a:cubicBezTo>
                  <a:cubicBezTo>
                    <a:pt x="9153" y="21120"/>
                    <a:pt x="9153" y="21120"/>
                    <a:pt x="9153" y="21120"/>
                  </a:cubicBezTo>
                  <a:cubicBezTo>
                    <a:pt x="8786" y="21600"/>
                    <a:pt x="8786" y="21600"/>
                    <a:pt x="8420" y="21600"/>
                  </a:cubicBezTo>
                  <a:cubicBezTo>
                    <a:pt x="8054" y="21600"/>
                    <a:pt x="7688" y="21600"/>
                    <a:pt x="7322" y="21120"/>
                  </a:cubicBezTo>
                  <a:cubicBezTo>
                    <a:pt x="5492" y="18720"/>
                    <a:pt x="5492" y="18720"/>
                    <a:pt x="5492" y="18720"/>
                  </a:cubicBezTo>
                  <a:cubicBezTo>
                    <a:pt x="366" y="12480"/>
                    <a:pt x="366" y="12480"/>
                    <a:pt x="366" y="12480"/>
                  </a:cubicBezTo>
                  <a:cubicBezTo>
                    <a:pt x="0" y="12000"/>
                    <a:pt x="0" y="11520"/>
                    <a:pt x="0" y="11040"/>
                  </a:cubicBezTo>
                  <a:cubicBezTo>
                    <a:pt x="0" y="10560"/>
                    <a:pt x="0" y="10080"/>
                    <a:pt x="366" y="9600"/>
                  </a:cubicBezTo>
                  <a:cubicBezTo>
                    <a:pt x="2197" y="7200"/>
                    <a:pt x="2197" y="7200"/>
                    <a:pt x="2197" y="7200"/>
                  </a:cubicBezTo>
                  <a:cubicBezTo>
                    <a:pt x="2563" y="6720"/>
                    <a:pt x="2929" y="6720"/>
                    <a:pt x="3295" y="6720"/>
                  </a:cubicBezTo>
                  <a:cubicBezTo>
                    <a:pt x="3661" y="6720"/>
                    <a:pt x="4027" y="6720"/>
                    <a:pt x="4027" y="7200"/>
                  </a:cubicBezTo>
                  <a:cubicBezTo>
                    <a:pt x="8420" y="12480"/>
                    <a:pt x="8420" y="12480"/>
                    <a:pt x="8420" y="12480"/>
                  </a:cubicBezTo>
                  <a:cubicBezTo>
                    <a:pt x="17207" y="480"/>
                    <a:pt x="17207" y="480"/>
                    <a:pt x="17207" y="480"/>
                  </a:cubicBezTo>
                  <a:cubicBezTo>
                    <a:pt x="17573" y="480"/>
                    <a:pt x="17939" y="0"/>
                    <a:pt x="18305" y="0"/>
                  </a:cubicBezTo>
                  <a:cubicBezTo>
                    <a:pt x="18671" y="0"/>
                    <a:pt x="19037" y="480"/>
                    <a:pt x="19403" y="480"/>
                  </a:cubicBezTo>
                  <a:cubicBezTo>
                    <a:pt x="21234" y="3360"/>
                    <a:pt x="21234" y="3360"/>
                    <a:pt x="21234" y="3360"/>
                  </a:cubicBezTo>
                  <a:cubicBezTo>
                    <a:pt x="21234" y="3360"/>
                    <a:pt x="21600" y="3840"/>
                    <a:pt x="21600" y="4320"/>
                  </a:cubicBezTo>
                  <a:cubicBezTo>
                    <a:pt x="21600" y="4800"/>
                    <a:pt x="21234" y="5280"/>
                    <a:pt x="21234" y="5760"/>
                  </a:cubicBezTo>
                  <a:close/>
                </a:path>
              </a:pathLst>
            </a:custGeom>
            <a:solidFill>
              <a:schemeClr val="bg1"/>
            </a:solidFill>
            <a:ln w="12700" cap="flat">
              <a:noFill/>
              <a:miter lim="400000"/>
            </a:ln>
            <a:effectLst/>
          </p:spPr>
          <p:txBody>
            <a:bodyPr wrap="square" lIns="45713" tIns="45713" rIns="45713" bIns="45713" numCol="1" anchor="t">
              <a:noAutofit/>
            </a:bodyPr>
            <a:lstStyle/>
            <a:p>
              <a:pPr defTabSz="457109">
                <a:defRPr sz="24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defRPr>
              </a:pPr>
              <a:endParaRPr sz="1200"/>
            </a:p>
          </p:txBody>
        </p:sp>
      </p:grpSp>
      <p:sp>
        <p:nvSpPr>
          <p:cNvPr id="63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8101363" y="7026635"/>
            <a:ext cx="2429947" cy="402483"/>
          </a:xfrm>
        </p:spPr>
        <p:txBody>
          <a:bodyPr/>
          <a:lstStyle/>
          <a:p>
            <a:r>
              <a:rPr lang="ru-RU" dirty="0"/>
              <a:t>7</a:t>
            </a:r>
          </a:p>
        </p:txBody>
      </p: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6E82892A-DE2C-4AC9-9B6E-42478A93F447}"/>
              </a:ext>
            </a:extLst>
          </p:cNvPr>
          <p:cNvSpPr/>
          <p:nvPr/>
        </p:nvSpPr>
        <p:spPr>
          <a:xfrm>
            <a:off x="3206231" y="3669627"/>
            <a:ext cx="2618715" cy="178510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 algn="ctr">
              <a:buFont typeface="Arial" panose="020B0604020202020204" pitchFamily="34" charset="0"/>
              <a:buChar char="•"/>
            </a:pPr>
            <a:r>
              <a:rPr lang="ru-RU" sz="1000" b="1" dirty="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едициналық</a:t>
            </a:r>
            <a:r>
              <a:rPr lang="ru-RU" sz="1000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000" b="1" dirty="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ұйымға</a:t>
            </a:r>
            <a:r>
              <a:rPr lang="ru-RU" sz="1000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000" b="1" dirty="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іркелу</a:t>
            </a:r>
            <a:r>
              <a:rPr lang="ru-RU" sz="1000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000" b="1" dirty="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уралы</a:t>
            </a:r>
            <a:r>
              <a:rPr lang="ru-RU" sz="1000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;</a:t>
            </a:r>
          </a:p>
          <a:p>
            <a:pPr marL="171450" indent="-171450" algn="ctr">
              <a:buFont typeface="Arial" panose="020B0604020202020204" pitchFamily="34" charset="0"/>
              <a:buChar char="•"/>
            </a:pPr>
            <a:r>
              <a:rPr lang="ru-RU" sz="1000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Д-</a:t>
            </a:r>
            <a:r>
              <a:rPr lang="ru-RU" sz="1000" b="1" dirty="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есепте</a:t>
            </a:r>
            <a:r>
              <a:rPr lang="ru-RU" sz="1000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000" b="1" dirty="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ұрғаны</a:t>
            </a:r>
            <a:r>
              <a:rPr lang="ru-RU" sz="1000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000" b="1" dirty="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уралы</a:t>
            </a:r>
            <a:r>
              <a:rPr lang="ru-RU" sz="1000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;</a:t>
            </a:r>
          </a:p>
          <a:p>
            <a:pPr marL="171450" indent="-171450" algn="ctr">
              <a:buFont typeface="Arial" panose="020B0604020202020204" pitchFamily="34" charset="0"/>
              <a:buChar char="•"/>
            </a:pPr>
            <a:r>
              <a:rPr lang="ru-RU" sz="1000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ДЗ-да </a:t>
            </a:r>
            <a:r>
              <a:rPr lang="ru-RU" sz="1000" b="1" dirty="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азылған</a:t>
            </a:r>
            <a:r>
              <a:rPr lang="ru-RU" sz="1000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000" b="1" dirty="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әне</a:t>
            </a:r>
            <a:r>
              <a:rPr lang="ru-RU" sz="1000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000" b="1" dirty="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қамтамасыз</a:t>
            </a:r>
            <a:r>
              <a:rPr lang="ru-RU" sz="1000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000" b="1" dirty="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етілген</a:t>
            </a:r>
            <a:r>
              <a:rPr lang="ru-RU" sz="1000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000" b="1" dirty="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ецептілер</a:t>
            </a:r>
            <a:r>
              <a:rPr lang="ru-RU" sz="1000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000" b="1" dirty="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уралы</a:t>
            </a:r>
            <a:r>
              <a:rPr lang="ru-RU" sz="1000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;</a:t>
            </a:r>
          </a:p>
          <a:p>
            <a:pPr marL="171450" indent="-171450" algn="ctr">
              <a:buFont typeface="Arial" panose="020B0604020202020204" pitchFamily="34" charset="0"/>
              <a:buChar char="•"/>
            </a:pPr>
            <a:r>
              <a:rPr lang="ru-RU" sz="1000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САК </a:t>
            </a:r>
            <a:r>
              <a:rPr lang="ru-RU" sz="1000" b="1" dirty="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деңгейінде</a:t>
            </a:r>
            <a:r>
              <a:rPr lang="ru-RU" sz="1000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000" b="1" dirty="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қызметтер</a:t>
            </a:r>
            <a:r>
              <a:rPr lang="ru-RU" sz="1000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000" b="1" dirty="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өрсету</a:t>
            </a:r>
            <a:r>
              <a:rPr lang="ru-RU" sz="1000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000" b="1" dirty="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уралы</a:t>
            </a:r>
            <a:r>
              <a:rPr lang="ru-RU" sz="1000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;  </a:t>
            </a:r>
          </a:p>
          <a:p>
            <a:pPr marL="171450" indent="-171450" algn="ctr">
              <a:buFont typeface="Arial" panose="020B0604020202020204" pitchFamily="34" charset="0"/>
              <a:buChar char="•"/>
            </a:pPr>
            <a:r>
              <a:rPr lang="ru-RU" sz="1000" b="1" dirty="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Ауруханаға</a:t>
            </a:r>
            <a:r>
              <a:rPr lang="ru-RU" sz="1000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000" b="1" dirty="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атқызу</a:t>
            </a:r>
            <a:r>
              <a:rPr lang="ru-RU" sz="1000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000" b="1" dirty="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уралы</a:t>
            </a:r>
            <a:r>
              <a:rPr lang="ru-RU" sz="1000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;</a:t>
            </a:r>
          </a:p>
          <a:p>
            <a:pPr marL="171450" indent="-171450" algn="ctr">
              <a:buFont typeface="Arial" panose="020B0604020202020204" pitchFamily="34" charset="0"/>
              <a:buChar char="•"/>
            </a:pPr>
            <a:r>
              <a:rPr lang="ru-RU" sz="1000" b="1" dirty="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тационарлық</a:t>
            </a:r>
            <a:r>
              <a:rPr lang="ru-RU" sz="1000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000" b="1" dirty="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емдеу</a:t>
            </a:r>
            <a:r>
              <a:rPr lang="ru-RU" sz="1000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000" b="1" dirty="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уралы</a:t>
            </a:r>
            <a:r>
              <a:rPr lang="ru-RU" sz="1000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;</a:t>
            </a:r>
          </a:p>
          <a:p>
            <a:pPr marL="171450" indent="-171450" algn="ctr">
              <a:buFont typeface="Arial" panose="020B0604020202020204" pitchFamily="34" charset="0"/>
              <a:buChar char="•"/>
            </a:pPr>
            <a:r>
              <a:rPr lang="ru-RU" sz="1000" b="1" dirty="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Зертханалық</a:t>
            </a:r>
            <a:r>
              <a:rPr lang="ru-RU" sz="1000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000" b="1" dirty="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зерттеулер</a:t>
            </a:r>
            <a:r>
              <a:rPr lang="ru-RU" sz="1000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000" b="1" dirty="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уралы</a:t>
            </a:r>
            <a:endParaRPr lang="ru-RU" sz="1000" b="1" dirty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grpSp>
        <p:nvGrpSpPr>
          <p:cNvPr id="83" name="Группа 82">
            <a:extLst>
              <a:ext uri="{FF2B5EF4-FFF2-40B4-BE49-F238E27FC236}">
                <a16:creationId xmlns:a16="http://schemas.microsoft.com/office/drawing/2014/main" id="{DBBA4516-0E62-4BC3-90EA-B6AA421E53BD}"/>
              </a:ext>
            </a:extLst>
          </p:cNvPr>
          <p:cNvGrpSpPr/>
          <p:nvPr/>
        </p:nvGrpSpPr>
        <p:grpSpPr>
          <a:xfrm>
            <a:off x="9027042" y="3040557"/>
            <a:ext cx="354560" cy="281938"/>
            <a:chOff x="12018380" y="6675911"/>
            <a:chExt cx="523493" cy="416270"/>
          </a:xfrm>
        </p:grpSpPr>
        <p:grpSp>
          <p:nvGrpSpPr>
            <p:cNvPr id="87" name="Группа 86">
              <a:extLst>
                <a:ext uri="{FF2B5EF4-FFF2-40B4-BE49-F238E27FC236}">
                  <a16:creationId xmlns:a16="http://schemas.microsoft.com/office/drawing/2014/main" id="{D290C98F-4542-494D-A9C6-09F9A6BA54D1}"/>
                </a:ext>
              </a:extLst>
            </p:cNvPr>
            <p:cNvGrpSpPr/>
            <p:nvPr/>
          </p:nvGrpSpPr>
          <p:grpSpPr>
            <a:xfrm>
              <a:off x="12018380" y="6675911"/>
              <a:ext cx="523493" cy="416270"/>
              <a:chOff x="622705" y="1899098"/>
              <a:chExt cx="1736162" cy="1380560"/>
            </a:xfrm>
          </p:grpSpPr>
          <p:sp>
            <p:nvSpPr>
              <p:cNvPr id="98" name="Rounded Rectangle 46">
                <a:extLst>
                  <a:ext uri="{FF2B5EF4-FFF2-40B4-BE49-F238E27FC236}">
                    <a16:creationId xmlns:a16="http://schemas.microsoft.com/office/drawing/2014/main" id="{7554A069-BD84-48E2-A7A6-7E06AF915913}"/>
                  </a:ext>
                </a:extLst>
              </p:cNvPr>
              <p:cNvSpPr/>
              <p:nvPr/>
            </p:nvSpPr>
            <p:spPr>
              <a:xfrm rot="18900000">
                <a:off x="964360" y="1899098"/>
                <a:ext cx="1394507" cy="1380560"/>
              </a:xfrm>
              <a:prstGeom prst="roundRect">
                <a:avLst/>
              </a:prstGeom>
              <a:solidFill>
                <a:srgbClr val="F4F4F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200">
                  <a:solidFill>
                    <a:schemeClr val="tx1"/>
                  </a:solidFill>
                </a:endParaRPr>
              </a:p>
            </p:txBody>
          </p:sp>
          <p:sp>
            <p:nvSpPr>
              <p:cNvPr id="99" name="Rounded Rectangle 46">
                <a:extLst>
                  <a:ext uri="{FF2B5EF4-FFF2-40B4-BE49-F238E27FC236}">
                    <a16:creationId xmlns:a16="http://schemas.microsoft.com/office/drawing/2014/main" id="{E097B503-33B2-4483-B513-8A95D45AD2C9}"/>
                  </a:ext>
                </a:extLst>
              </p:cNvPr>
              <p:cNvSpPr/>
              <p:nvPr/>
            </p:nvSpPr>
            <p:spPr>
              <a:xfrm rot="18900000">
                <a:off x="622705" y="1899098"/>
                <a:ext cx="1394507" cy="1380560"/>
              </a:xfrm>
              <a:prstGeom prst="roundRect">
                <a:avLst/>
              </a:prstGeom>
              <a:gradFill>
                <a:gsLst>
                  <a:gs pos="0">
                    <a:srgbClr val="0F6FC6"/>
                  </a:gs>
                  <a:gs pos="100000">
                    <a:srgbClr val="0BD0D9"/>
                  </a:gs>
                  <a:gs pos="57000">
                    <a:srgbClr val="019DD8"/>
                  </a:gs>
                </a:gsLst>
                <a:lin ang="4800000" scaled="0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20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96" name="Shape 5411">
              <a:extLst>
                <a:ext uri="{FF2B5EF4-FFF2-40B4-BE49-F238E27FC236}">
                  <a16:creationId xmlns:a16="http://schemas.microsoft.com/office/drawing/2014/main" id="{A0B6F44F-39A5-4512-A20A-E5B7FAF050C4}"/>
                </a:ext>
              </a:extLst>
            </p:cNvPr>
            <p:cNvSpPr/>
            <p:nvPr/>
          </p:nvSpPr>
          <p:spPr>
            <a:xfrm>
              <a:off x="12104238" y="6791583"/>
              <a:ext cx="252923" cy="19517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234" y="5760"/>
                  </a:moveTo>
                  <a:cubicBezTo>
                    <a:pt x="10983" y="18720"/>
                    <a:pt x="10983" y="18720"/>
                    <a:pt x="10983" y="18720"/>
                  </a:cubicBezTo>
                  <a:cubicBezTo>
                    <a:pt x="9153" y="21120"/>
                    <a:pt x="9153" y="21120"/>
                    <a:pt x="9153" y="21120"/>
                  </a:cubicBezTo>
                  <a:cubicBezTo>
                    <a:pt x="8786" y="21600"/>
                    <a:pt x="8786" y="21600"/>
                    <a:pt x="8420" y="21600"/>
                  </a:cubicBezTo>
                  <a:cubicBezTo>
                    <a:pt x="8054" y="21600"/>
                    <a:pt x="7688" y="21600"/>
                    <a:pt x="7322" y="21120"/>
                  </a:cubicBezTo>
                  <a:cubicBezTo>
                    <a:pt x="5492" y="18720"/>
                    <a:pt x="5492" y="18720"/>
                    <a:pt x="5492" y="18720"/>
                  </a:cubicBezTo>
                  <a:cubicBezTo>
                    <a:pt x="366" y="12480"/>
                    <a:pt x="366" y="12480"/>
                    <a:pt x="366" y="12480"/>
                  </a:cubicBezTo>
                  <a:cubicBezTo>
                    <a:pt x="0" y="12000"/>
                    <a:pt x="0" y="11520"/>
                    <a:pt x="0" y="11040"/>
                  </a:cubicBezTo>
                  <a:cubicBezTo>
                    <a:pt x="0" y="10560"/>
                    <a:pt x="0" y="10080"/>
                    <a:pt x="366" y="9600"/>
                  </a:cubicBezTo>
                  <a:cubicBezTo>
                    <a:pt x="2197" y="7200"/>
                    <a:pt x="2197" y="7200"/>
                    <a:pt x="2197" y="7200"/>
                  </a:cubicBezTo>
                  <a:cubicBezTo>
                    <a:pt x="2563" y="6720"/>
                    <a:pt x="2929" y="6720"/>
                    <a:pt x="3295" y="6720"/>
                  </a:cubicBezTo>
                  <a:cubicBezTo>
                    <a:pt x="3661" y="6720"/>
                    <a:pt x="4027" y="6720"/>
                    <a:pt x="4027" y="7200"/>
                  </a:cubicBezTo>
                  <a:cubicBezTo>
                    <a:pt x="8420" y="12480"/>
                    <a:pt x="8420" y="12480"/>
                    <a:pt x="8420" y="12480"/>
                  </a:cubicBezTo>
                  <a:cubicBezTo>
                    <a:pt x="17207" y="480"/>
                    <a:pt x="17207" y="480"/>
                    <a:pt x="17207" y="480"/>
                  </a:cubicBezTo>
                  <a:cubicBezTo>
                    <a:pt x="17573" y="480"/>
                    <a:pt x="17939" y="0"/>
                    <a:pt x="18305" y="0"/>
                  </a:cubicBezTo>
                  <a:cubicBezTo>
                    <a:pt x="18671" y="0"/>
                    <a:pt x="19037" y="480"/>
                    <a:pt x="19403" y="480"/>
                  </a:cubicBezTo>
                  <a:cubicBezTo>
                    <a:pt x="21234" y="3360"/>
                    <a:pt x="21234" y="3360"/>
                    <a:pt x="21234" y="3360"/>
                  </a:cubicBezTo>
                  <a:cubicBezTo>
                    <a:pt x="21234" y="3360"/>
                    <a:pt x="21600" y="3840"/>
                    <a:pt x="21600" y="4320"/>
                  </a:cubicBezTo>
                  <a:cubicBezTo>
                    <a:pt x="21600" y="4800"/>
                    <a:pt x="21234" y="5280"/>
                    <a:pt x="21234" y="5760"/>
                  </a:cubicBezTo>
                  <a:close/>
                </a:path>
              </a:pathLst>
            </a:custGeom>
            <a:solidFill>
              <a:schemeClr val="bg1"/>
            </a:solidFill>
            <a:ln w="12700" cap="flat">
              <a:noFill/>
              <a:miter lim="400000"/>
            </a:ln>
            <a:effectLst/>
          </p:spPr>
          <p:txBody>
            <a:bodyPr wrap="square" lIns="45713" tIns="45713" rIns="45713" bIns="45713" numCol="1" anchor="t">
              <a:noAutofit/>
            </a:bodyPr>
            <a:lstStyle/>
            <a:p>
              <a:pPr defTabSz="457109">
                <a:defRPr sz="24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defRPr>
              </a:pPr>
              <a:endParaRPr sz="1200"/>
            </a:p>
          </p:txBody>
        </p:sp>
      </p:grpSp>
      <p:cxnSp>
        <p:nvCxnSpPr>
          <p:cNvPr id="100" name="Прямая со стрелкой 99">
            <a:extLst>
              <a:ext uri="{FF2B5EF4-FFF2-40B4-BE49-F238E27FC236}">
                <a16:creationId xmlns:a16="http://schemas.microsoft.com/office/drawing/2014/main" id="{E8F04C57-6164-4814-A2D6-598771053DF9}"/>
              </a:ext>
            </a:extLst>
          </p:cNvPr>
          <p:cNvCxnSpPr>
            <a:cxnSpLocks/>
            <a:stCxn id="41" idx="1"/>
          </p:cNvCxnSpPr>
          <p:nvPr/>
        </p:nvCxnSpPr>
        <p:spPr>
          <a:xfrm flipH="1">
            <a:off x="5894017" y="2277421"/>
            <a:ext cx="222698" cy="56704"/>
          </a:xfrm>
          <a:prstGeom prst="straightConnector1">
            <a:avLst/>
          </a:prstGeom>
          <a:ln w="28575">
            <a:solidFill>
              <a:srgbClr val="00468D"/>
            </a:solidFill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E6A1508D-40FC-4BA9-B57C-D51B4B5B479B}"/>
              </a:ext>
            </a:extLst>
          </p:cNvPr>
          <p:cNvSpPr/>
          <p:nvPr/>
        </p:nvSpPr>
        <p:spPr>
          <a:xfrm>
            <a:off x="3225258" y="3205482"/>
            <a:ext cx="2578715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100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ациент </a:t>
            </a:r>
            <a:r>
              <a:rPr lang="ru-RU" sz="1100" b="1" dirty="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уралы</a:t>
            </a:r>
            <a:r>
              <a:rPr lang="ru-RU" sz="1100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100" b="1" dirty="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ядрода</a:t>
            </a:r>
            <a:r>
              <a:rPr lang="ru-RU" sz="1100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100" b="1" dirty="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ақталатын</a:t>
            </a:r>
            <a:r>
              <a:rPr lang="ru-RU" sz="1100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100" b="1" dirty="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деректер</a:t>
            </a:r>
            <a:r>
              <a:rPr lang="ru-RU" sz="1100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:</a:t>
            </a:r>
            <a:endParaRPr lang="ru-RU" sz="11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2621983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3" name="Группа 42">
            <a:extLst>
              <a:ext uri="{FF2B5EF4-FFF2-40B4-BE49-F238E27FC236}">
                <a16:creationId xmlns:a16="http://schemas.microsoft.com/office/drawing/2014/main" id="{D1DAEC1D-CEB9-4EA8-B0AD-3FE73412D28C}"/>
              </a:ext>
            </a:extLst>
          </p:cNvPr>
          <p:cNvGrpSpPr/>
          <p:nvPr/>
        </p:nvGrpSpPr>
        <p:grpSpPr>
          <a:xfrm>
            <a:off x="470393" y="1787118"/>
            <a:ext cx="523493" cy="430440"/>
            <a:chOff x="490713" y="1378040"/>
            <a:chExt cx="523493" cy="430440"/>
          </a:xfrm>
        </p:grpSpPr>
        <p:grpSp>
          <p:nvGrpSpPr>
            <p:cNvPr id="44" name="Группа 43">
              <a:extLst>
                <a:ext uri="{FF2B5EF4-FFF2-40B4-BE49-F238E27FC236}">
                  <a16:creationId xmlns:a16="http://schemas.microsoft.com/office/drawing/2014/main" id="{7D497AE2-DF3E-4760-91AF-83C70B2ACC86}"/>
                </a:ext>
              </a:extLst>
            </p:cNvPr>
            <p:cNvGrpSpPr/>
            <p:nvPr/>
          </p:nvGrpSpPr>
          <p:grpSpPr>
            <a:xfrm>
              <a:off x="490713" y="1392210"/>
              <a:ext cx="523493" cy="416270"/>
              <a:chOff x="622705" y="1899098"/>
              <a:chExt cx="1736162" cy="1380560"/>
            </a:xfrm>
          </p:grpSpPr>
          <p:sp>
            <p:nvSpPr>
              <p:cNvPr id="46" name="Rounded Rectangle 46">
                <a:extLst>
                  <a:ext uri="{FF2B5EF4-FFF2-40B4-BE49-F238E27FC236}">
                    <a16:creationId xmlns:a16="http://schemas.microsoft.com/office/drawing/2014/main" id="{18CEBBA4-14B2-4BFD-B12B-2163D1EF5AA6}"/>
                  </a:ext>
                </a:extLst>
              </p:cNvPr>
              <p:cNvSpPr/>
              <p:nvPr/>
            </p:nvSpPr>
            <p:spPr>
              <a:xfrm rot="18900000">
                <a:off x="964360" y="1899098"/>
                <a:ext cx="1394507" cy="1380560"/>
              </a:xfrm>
              <a:prstGeom prst="roundRect">
                <a:avLst/>
              </a:prstGeom>
              <a:solidFill>
                <a:srgbClr val="F4F4F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47" name="Rounded Rectangle 46">
                <a:extLst>
                  <a:ext uri="{FF2B5EF4-FFF2-40B4-BE49-F238E27FC236}">
                    <a16:creationId xmlns:a16="http://schemas.microsoft.com/office/drawing/2014/main" id="{DB86FE3C-F879-464B-BEE0-6A4FD9ED8A4B}"/>
                  </a:ext>
                </a:extLst>
              </p:cNvPr>
              <p:cNvSpPr/>
              <p:nvPr/>
            </p:nvSpPr>
            <p:spPr>
              <a:xfrm rot="18900000">
                <a:off x="622705" y="1899098"/>
                <a:ext cx="1394507" cy="1380560"/>
              </a:xfrm>
              <a:prstGeom prst="roundRect">
                <a:avLst/>
              </a:prstGeom>
              <a:gradFill>
                <a:gsLst>
                  <a:gs pos="0">
                    <a:srgbClr val="0F6FC6"/>
                  </a:gs>
                  <a:gs pos="100000">
                    <a:srgbClr val="0BD0D9"/>
                  </a:gs>
                  <a:gs pos="57000">
                    <a:srgbClr val="019DD8"/>
                  </a:gs>
                </a:gsLst>
                <a:lin ang="4800000" scaled="0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47244319-3D90-4627-9F8D-4E2FF2A69A60}"/>
                </a:ext>
              </a:extLst>
            </p:cNvPr>
            <p:cNvSpPr txBox="1"/>
            <p:nvPr/>
          </p:nvSpPr>
          <p:spPr>
            <a:xfrm>
              <a:off x="508133" y="1378040"/>
              <a:ext cx="348172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ru-RU" sz="2000" b="1" dirty="0">
                  <a:solidFill>
                    <a:schemeClr val="bg1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3</a:t>
              </a:r>
            </a:p>
          </p:txBody>
        </p:sp>
      </p:grpSp>
      <p:cxnSp>
        <p:nvCxnSpPr>
          <p:cNvPr id="41" name="Прямая соединительная линия 40">
            <a:extLst>
              <a:ext uri="{FF2B5EF4-FFF2-40B4-BE49-F238E27FC236}">
                <a16:creationId xmlns:a16="http://schemas.microsoft.com/office/drawing/2014/main" id="{975A6D91-7FF0-4811-9C20-7836736FD667}"/>
              </a:ext>
            </a:extLst>
          </p:cNvPr>
          <p:cNvCxnSpPr>
            <a:cxnSpLocks/>
          </p:cNvCxnSpPr>
          <p:nvPr/>
        </p:nvCxnSpPr>
        <p:spPr>
          <a:xfrm flipH="1">
            <a:off x="409031" y="2913649"/>
            <a:ext cx="10067651" cy="1"/>
          </a:xfrm>
          <a:prstGeom prst="line">
            <a:avLst/>
          </a:prstGeom>
          <a:ln w="25400">
            <a:solidFill>
              <a:schemeClr val="bg1">
                <a:lumMod val="85000"/>
              </a:schemeClr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Заголовок 1">
            <a:extLst>
              <a:ext uri="{FF2B5EF4-FFF2-40B4-BE49-F238E27FC236}">
                <a16:creationId xmlns:a16="http://schemas.microsoft.com/office/drawing/2014/main" id="{691F4BE4-22EB-4BEA-BF08-76CFCDFD5844}"/>
              </a:ext>
            </a:extLst>
          </p:cNvPr>
          <p:cNvSpPr txBox="1">
            <a:spLocks/>
          </p:cNvSpPr>
          <p:nvPr/>
        </p:nvSpPr>
        <p:spPr>
          <a:xfrm>
            <a:off x="364991" y="138875"/>
            <a:ext cx="8640105" cy="78377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100794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5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kk-KZ" sz="28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ЕДИЦИНАЛЫҚ ҚЫЗМЕТТЕРГЕ АҚЫ ТӨЛЕУ ЖӨНІНДЕГІ МӘСЕЛЕЛЕР</a:t>
            </a:r>
            <a:endParaRPr lang="ru-RU" sz="2800" b="1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0" name="Прямоугольник 19">
            <a:extLst>
              <a:ext uri="{FF2B5EF4-FFF2-40B4-BE49-F238E27FC236}">
                <a16:creationId xmlns:a16="http://schemas.microsoft.com/office/drawing/2014/main" id="{86BB1215-522E-4DCC-AE61-51573EF744BA}"/>
              </a:ext>
            </a:extLst>
          </p:cNvPr>
          <p:cNvSpPr/>
          <p:nvPr/>
        </p:nvSpPr>
        <p:spPr>
          <a:xfrm>
            <a:off x="1110269" y="1652245"/>
            <a:ext cx="433258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1000"/>
              </a:spcAft>
            </a:pPr>
            <a:r>
              <a:rPr lang="ru-RU" sz="14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САК </a:t>
            </a:r>
            <a:r>
              <a:rPr lang="ru-RU" sz="1400" b="1" dirty="0" err="1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деңгейінде</a:t>
            </a:r>
            <a:r>
              <a:rPr lang="ru-RU" sz="14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b="1" dirty="0" err="1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амандар</a:t>
            </a:r>
            <a:r>
              <a:rPr lang="ru-RU" sz="14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b="1" dirty="0" err="1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өрсететін</a:t>
            </a:r>
            <a:r>
              <a:rPr lang="ru-RU" sz="14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b="1" dirty="0" err="1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қызметтердің</a:t>
            </a:r>
            <a:r>
              <a:rPr lang="ru-RU" sz="14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b="1" dirty="0" err="1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бір</a:t>
            </a:r>
            <a:r>
              <a:rPr lang="ru-RU" sz="14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b="1" dirty="0" err="1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бөлігі</a:t>
            </a:r>
            <a:r>
              <a:rPr lang="ru-RU" sz="14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b="1" dirty="0" err="1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арификаторда</a:t>
            </a:r>
            <a:r>
              <a:rPr lang="ru-RU" sz="14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b="1" dirty="0" err="1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оқ</a:t>
            </a:r>
            <a:r>
              <a:rPr lang="ru-RU" sz="14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b="1" dirty="0" err="1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әне</a:t>
            </a:r>
            <a:r>
              <a:rPr lang="ru-RU" sz="14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b="1" dirty="0" err="1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ларды</a:t>
            </a:r>
            <a:r>
              <a:rPr lang="ru-RU" sz="14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b="1" dirty="0" err="1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бағалау</a:t>
            </a:r>
            <a:r>
              <a:rPr lang="ru-RU" sz="14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b="1" dirty="0" err="1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үмкін</a:t>
            </a:r>
            <a:r>
              <a:rPr lang="ru-RU" sz="14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b="1" dirty="0" err="1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емес</a:t>
            </a:r>
            <a:r>
              <a:rPr lang="ru-RU" sz="14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:</a:t>
            </a:r>
          </a:p>
        </p:txBody>
      </p:sp>
      <p:sp>
        <p:nvSpPr>
          <p:cNvPr id="24" name="Прямоугольник 23">
            <a:extLst>
              <a:ext uri="{FF2B5EF4-FFF2-40B4-BE49-F238E27FC236}">
                <a16:creationId xmlns:a16="http://schemas.microsoft.com/office/drawing/2014/main" id="{0D96F7DB-7E28-4180-9F5E-BF76C7AF79A7}"/>
              </a:ext>
            </a:extLst>
          </p:cNvPr>
          <p:cNvSpPr/>
          <p:nvPr/>
        </p:nvSpPr>
        <p:spPr>
          <a:xfrm>
            <a:off x="6171287" y="1525508"/>
            <a:ext cx="3212032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 err="1">
                <a:solidFill>
                  <a:schemeClr val="tx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едициналық</a:t>
            </a:r>
            <a:r>
              <a:rPr lang="ru-RU" sz="1400" dirty="0">
                <a:solidFill>
                  <a:schemeClr val="tx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solidFill>
                  <a:schemeClr val="tx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қызметтер</a:t>
            </a:r>
            <a:r>
              <a:rPr lang="ru-RU" sz="1400" dirty="0">
                <a:solidFill>
                  <a:schemeClr val="tx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solidFill>
                  <a:schemeClr val="tx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арификаторын</a:t>
            </a:r>
            <a:r>
              <a:rPr lang="ru-RU" sz="1400" dirty="0">
                <a:solidFill>
                  <a:schemeClr val="tx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solidFill>
                  <a:schemeClr val="tx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қайта</a:t>
            </a:r>
            <a:r>
              <a:rPr lang="ru-RU" sz="1400" dirty="0">
                <a:solidFill>
                  <a:schemeClr val="tx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solidFill>
                  <a:schemeClr val="tx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қарау</a:t>
            </a:r>
            <a:endParaRPr lang="ru-RU" sz="1400" dirty="0">
              <a:solidFill>
                <a:schemeClr val="tx2">
                  <a:lumMod val="75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88" name="Прямоугольник 87">
            <a:extLst>
              <a:ext uri="{FF2B5EF4-FFF2-40B4-BE49-F238E27FC236}">
                <a16:creationId xmlns:a16="http://schemas.microsoft.com/office/drawing/2014/main" id="{2D9BBE2E-70E9-4A1D-AAB3-8D19A352F76E}"/>
              </a:ext>
            </a:extLst>
          </p:cNvPr>
          <p:cNvSpPr/>
          <p:nvPr/>
        </p:nvSpPr>
        <p:spPr>
          <a:xfrm>
            <a:off x="6354756" y="2121220"/>
            <a:ext cx="981359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200" b="1" dirty="0" err="1">
                <a:solidFill>
                  <a:srgbClr val="0F6FC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ауапты</a:t>
            </a:r>
            <a:r>
              <a:rPr lang="ru-RU" sz="1200" b="1" dirty="0">
                <a:solidFill>
                  <a:srgbClr val="0F6FC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:</a:t>
            </a:r>
            <a:endParaRPr lang="ru-RU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89" name="Shape 5654">
            <a:extLst>
              <a:ext uri="{FF2B5EF4-FFF2-40B4-BE49-F238E27FC236}">
                <a16:creationId xmlns:a16="http://schemas.microsoft.com/office/drawing/2014/main" id="{7B2B48AB-4AD9-4D5A-BA39-90ED3A039854}"/>
              </a:ext>
            </a:extLst>
          </p:cNvPr>
          <p:cNvSpPr/>
          <p:nvPr/>
        </p:nvSpPr>
        <p:spPr>
          <a:xfrm>
            <a:off x="6093021" y="2137041"/>
            <a:ext cx="204152" cy="19070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4800"/>
                </a:moveTo>
                <a:cubicBezTo>
                  <a:pt x="21600" y="6300"/>
                  <a:pt x="21600" y="6300"/>
                  <a:pt x="21600" y="6300"/>
                </a:cubicBezTo>
                <a:cubicBezTo>
                  <a:pt x="20197" y="6300"/>
                  <a:pt x="20197" y="6300"/>
                  <a:pt x="20197" y="6300"/>
                </a:cubicBezTo>
                <a:cubicBezTo>
                  <a:pt x="20197" y="6600"/>
                  <a:pt x="19636" y="6900"/>
                  <a:pt x="19356" y="6900"/>
                </a:cubicBezTo>
                <a:cubicBezTo>
                  <a:pt x="2244" y="6900"/>
                  <a:pt x="2244" y="6900"/>
                  <a:pt x="2244" y="6900"/>
                </a:cubicBezTo>
                <a:cubicBezTo>
                  <a:pt x="1683" y="6900"/>
                  <a:pt x="1403" y="6600"/>
                  <a:pt x="1403" y="6300"/>
                </a:cubicBezTo>
                <a:cubicBezTo>
                  <a:pt x="0" y="6300"/>
                  <a:pt x="0" y="6300"/>
                  <a:pt x="0" y="6300"/>
                </a:cubicBezTo>
                <a:cubicBezTo>
                  <a:pt x="0" y="4800"/>
                  <a:pt x="0" y="4800"/>
                  <a:pt x="0" y="4800"/>
                </a:cubicBezTo>
                <a:cubicBezTo>
                  <a:pt x="10660" y="0"/>
                  <a:pt x="10660" y="0"/>
                  <a:pt x="10660" y="0"/>
                </a:cubicBezTo>
                <a:lnTo>
                  <a:pt x="21600" y="4800"/>
                </a:lnTo>
                <a:close/>
                <a:moveTo>
                  <a:pt x="21600" y="20100"/>
                </a:moveTo>
                <a:cubicBezTo>
                  <a:pt x="21600" y="21600"/>
                  <a:pt x="21600" y="21600"/>
                  <a:pt x="21600" y="21600"/>
                </a:cubicBezTo>
                <a:cubicBezTo>
                  <a:pt x="0" y="21600"/>
                  <a:pt x="0" y="21600"/>
                  <a:pt x="0" y="21600"/>
                </a:cubicBezTo>
                <a:cubicBezTo>
                  <a:pt x="0" y="20100"/>
                  <a:pt x="0" y="20100"/>
                  <a:pt x="0" y="20100"/>
                </a:cubicBezTo>
                <a:cubicBezTo>
                  <a:pt x="0" y="19800"/>
                  <a:pt x="281" y="19500"/>
                  <a:pt x="842" y="19500"/>
                </a:cubicBezTo>
                <a:cubicBezTo>
                  <a:pt x="20758" y="19500"/>
                  <a:pt x="20758" y="19500"/>
                  <a:pt x="20758" y="19500"/>
                </a:cubicBezTo>
                <a:cubicBezTo>
                  <a:pt x="21319" y="19500"/>
                  <a:pt x="21600" y="19800"/>
                  <a:pt x="21600" y="20100"/>
                </a:cubicBezTo>
                <a:close/>
                <a:moveTo>
                  <a:pt x="5610" y="7800"/>
                </a:moveTo>
                <a:cubicBezTo>
                  <a:pt x="5610" y="17100"/>
                  <a:pt x="5610" y="17100"/>
                  <a:pt x="5610" y="17100"/>
                </a:cubicBezTo>
                <a:cubicBezTo>
                  <a:pt x="7013" y="17100"/>
                  <a:pt x="7013" y="17100"/>
                  <a:pt x="7013" y="17100"/>
                </a:cubicBezTo>
                <a:cubicBezTo>
                  <a:pt x="7013" y="7800"/>
                  <a:pt x="7013" y="7800"/>
                  <a:pt x="7013" y="7800"/>
                </a:cubicBezTo>
                <a:cubicBezTo>
                  <a:pt x="10099" y="7800"/>
                  <a:pt x="10099" y="7800"/>
                  <a:pt x="10099" y="7800"/>
                </a:cubicBezTo>
                <a:cubicBezTo>
                  <a:pt x="10099" y="17100"/>
                  <a:pt x="10099" y="17100"/>
                  <a:pt x="10099" y="17100"/>
                </a:cubicBezTo>
                <a:cubicBezTo>
                  <a:pt x="11501" y="17100"/>
                  <a:pt x="11501" y="17100"/>
                  <a:pt x="11501" y="17100"/>
                </a:cubicBezTo>
                <a:cubicBezTo>
                  <a:pt x="11501" y="7800"/>
                  <a:pt x="11501" y="7800"/>
                  <a:pt x="11501" y="7800"/>
                </a:cubicBezTo>
                <a:cubicBezTo>
                  <a:pt x="14306" y="7800"/>
                  <a:pt x="14306" y="7800"/>
                  <a:pt x="14306" y="7800"/>
                </a:cubicBezTo>
                <a:cubicBezTo>
                  <a:pt x="14306" y="17100"/>
                  <a:pt x="14306" y="17100"/>
                  <a:pt x="14306" y="17100"/>
                </a:cubicBezTo>
                <a:cubicBezTo>
                  <a:pt x="15709" y="17100"/>
                  <a:pt x="15709" y="17100"/>
                  <a:pt x="15709" y="17100"/>
                </a:cubicBezTo>
                <a:cubicBezTo>
                  <a:pt x="15709" y="7800"/>
                  <a:pt x="15709" y="7800"/>
                  <a:pt x="15709" y="7800"/>
                </a:cubicBezTo>
                <a:cubicBezTo>
                  <a:pt x="18795" y="7800"/>
                  <a:pt x="18795" y="7800"/>
                  <a:pt x="18795" y="7800"/>
                </a:cubicBezTo>
                <a:cubicBezTo>
                  <a:pt x="18795" y="17100"/>
                  <a:pt x="18795" y="17100"/>
                  <a:pt x="18795" y="17100"/>
                </a:cubicBezTo>
                <a:cubicBezTo>
                  <a:pt x="19356" y="17100"/>
                  <a:pt x="19356" y="17100"/>
                  <a:pt x="19356" y="17100"/>
                </a:cubicBezTo>
                <a:cubicBezTo>
                  <a:pt x="19636" y="17100"/>
                  <a:pt x="20197" y="17400"/>
                  <a:pt x="20197" y="17700"/>
                </a:cubicBezTo>
                <a:cubicBezTo>
                  <a:pt x="20197" y="18600"/>
                  <a:pt x="20197" y="18600"/>
                  <a:pt x="20197" y="18600"/>
                </a:cubicBezTo>
                <a:cubicBezTo>
                  <a:pt x="1403" y="18600"/>
                  <a:pt x="1403" y="18600"/>
                  <a:pt x="1403" y="18600"/>
                </a:cubicBezTo>
                <a:cubicBezTo>
                  <a:pt x="1403" y="17700"/>
                  <a:pt x="1403" y="17700"/>
                  <a:pt x="1403" y="17700"/>
                </a:cubicBezTo>
                <a:cubicBezTo>
                  <a:pt x="1403" y="17400"/>
                  <a:pt x="1683" y="17100"/>
                  <a:pt x="2244" y="17100"/>
                </a:cubicBezTo>
                <a:cubicBezTo>
                  <a:pt x="2805" y="17100"/>
                  <a:pt x="2805" y="17100"/>
                  <a:pt x="2805" y="17100"/>
                </a:cubicBezTo>
                <a:cubicBezTo>
                  <a:pt x="2805" y="7800"/>
                  <a:pt x="2805" y="7800"/>
                  <a:pt x="2805" y="7800"/>
                </a:cubicBezTo>
                <a:lnTo>
                  <a:pt x="5610" y="7800"/>
                </a:lnTo>
                <a:close/>
              </a:path>
            </a:pathLst>
          </a:custGeom>
          <a:solidFill>
            <a:srgbClr val="0F6FC6"/>
          </a:solidFill>
          <a:ln w="12700" cap="flat">
            <a:noFill/>
            <a:miter lim="400000"/>
          </a:ln>
          <a:effectLst/>
        </p:spPr>
        <p:txBody>
          <a:bodyPr wrap="square" lIns="45713" tIns="45713" rIns="45713" bIns="45713" numCol="1" anchor="t">
            <a:noAutofit/>
          </a:bodyPr>
          <a:lstStyle/>
          <a:p>
            <a:pPr defTabSz="457109">
              <a:defRPr sz="24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pPr>
            <a:endParaRPr sz="2400"/>
          </a:p>
        </p:txBody>
      </p:sp>
      <p:sp>
        <p:nvSpPr>
          <p:cNvPr id="90" name="Прямоугольник 89">
            <a:extLst>
              <a:ext uri="{FF2B5EF4-FFF2-40B4-BE49-F238E27FC236}">
                <a16:creationId xmlns:a16="http://schemas.microsoft.com/office/drawing/2014/main" id="{BC1714B0-6D9D-44CC-A785-7B824A005F2D}"/>
              </a:ext>
            </a:extLst>
          </p:cNvPr>
          <p:cNvSpPr/>
          <p:nvPr/>
        </p:nvSpPr>
        <p:spPr>
          <a:xfrm>
            <a:off x="8046118" y="2096719"/>
            <a:ext cx="1558440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4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ҚР ДСМ, ӘМСҚ</a:t>
            </a:r>
            <a:endParaRPr lang="ru-RU" sz="14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id="{07E7E669-E801-451E-B0E2-C44EBD07DC7C}"/>
              </a:ext>
            </a:extLst>
          </p:cNvPr>
          <p:cNvSpPr/>
          <p:nvPr/>
        </p:nvSpPr>
        <p:spPr>
          <a:xfrm>
            <a:off x="1036333" y="3027570"/>
            <a:ext cx="4298950" cy="16004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1000"/>
              </a:spcAft>
            </a:pPr>
            <a:r>
              <a:rPr lang="ru-RU" sz="14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САК </a:t>
            </a:r>
            <a:r>
              <a:rPr lang="ru-RU" sz="1400" b="1" dirty="0" err="1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деңгейінде</a:t>
            </a:r>
            <a:r>
              <a:rPr lang="ru-RU" sz="14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b="1" dirty="0" err="1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амандар</a:t>
            </a:r>
            <a:r>
              <a:rPr lang="ru-RU" sz="14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b="1" dirty="0" err="1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өрсететін</a:t>
            </a:r>
            <a:r>
              <a:rPr lang="ru-RU" sz="14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b="1" dirty="0" err="1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қызметтердің</a:t>
            </a:r>
            <a:r>
              <a:rPr lang="ru-RU" sz="14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b="1" dirty="0" err="1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бір</a:t>
            </a:r>
            <a:r>
              <a:rPr lang="ru-RU" sz="14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b="1" dirty="0" err="1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бөлігінің</a:t>
            </a:r>
            <a:r>
              <a:rPr lang="ru-RU" sz="14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b="1" dirty="0" err="1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бағасы</a:t>
            </a:r>
            <a:r>
              <a:rPr lang="ru-RU" sz="14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осы </a:t>
            </a:r>
            <a:r>
              <a:rPr lang="ru-RU" sz="1400" b="1" dirty="0" err="1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өрсетілетін</a:t>
            </a:r>
            <a:r>
              <a:rPr lang="ru-RU" sz="14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b="1" dirty="0" err="1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қызметтерге</a:t>
            </a:r>
            <a:r>
              <a:rPr lang="ru-RU" sz="14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b="1" dirty="0" err="1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ұмсалған</a:t>
            </a:r>
            <a:r>
              <a:rPr lang="ru-RU" sz="14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b="1" dirty="0" err="1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қаражаттың</a:t>
            </a:r>
            <a:r>
              <a:rPr lang="ru-RU" sz="14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b="1" dirty="0" err="1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өзіндік</a:t>
            </a:r>
            <a:r>
              <a:rPr lang="ru-RU" sz="14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b="1" dirty="0" err="1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құнынан</a:t>
            </a:r>
            <a:r>
              <a:rPr lang="ru-RU" sz="14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b="1" dirty="0" err="1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бірнеше</a:t>
            </a:r>
            <a:r>
              <a:rPr lang="ru-RU" sz="14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b="1" dirty="0" err="1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есе</a:t>
            </a:r>
            <a:r>
              <a:rPr lang="ru-RU" sz="14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b="1" dirty="0" err="1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өмен</a:t>
            </a:r>
            <a:r>
              <a:rPr lang="ru-RU" sz="14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b="1" dirty="0" err="1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әне</a:t>
            </a:r>
            <a:r>
              <a:rPr lang="ru-RU" sz="14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/</a:t>
            </a:r>
            <a:r>
              <a:rPr lang="ru-RU" sz="1400" b="1" dirty="0" err="1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емесе</a:t>
            </a:r>
            <a:r>
              <a:rPr lang="ru-RU" sz="14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осы </a:t>
            </a:r>
            <a:r>
              <a:rPr lang="ru-RU" sz="1400" b="1" dirty="0" err="1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өрсетілетін</a:t>
            </a:r>
            <a:r>
              <a:rPr lang="ru-RU" sz="14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b="1" dirty="0" err="1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қызметтерді</a:t>
            </a:r>
            <a:r>
              <a:rPr lang="ru-RU" sz="14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b="1" dirty="0" err="1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еке</a:t>
            </a:r>
            <a:r>
              <a:rPr lang="ru-RU" sz="14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b="1" dirty="0" err="1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еткізушілермен</a:t>
            </a:r>
            <a:r>
              <a:rPr lang="ru-RU" sz="14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b="1" dirty="0" err="1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алыстырғанда</a:t>
            </a:r>
            <a:r>
              <a:rPr lang="ru-RU" sz="14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b="1" dirty="0" err="1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арзанырақ</a:t>
            </a:r>
            <a:endParaRPr lang="ru-RU" sz="1400" b="1" dirty="0">
              <a:solidFill>
                <a:srgbClr val="00206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grpSp>
        <p:nvGrpSpPr>
          <p:cNvPr id="76" name="Группа 75">
            <a:extLst>
              <a:ext uri="{FF2B5EF4-FFF2-40B4-BE49-F238E27FC236}">
                <a16:creationId xmlns:a16="http://schemas.microsoft.com/office/drawing/2014/main" id="{5508A3DF-57CC-4051-9321-88A26B8816C3}"/>
              </a:ext>
            </a:extLst>
          </p:cNvPr>
          <p:cNvGrpSpPr/>
          <p:nvPr/>
        </p:nvGrpSpPr>
        <p:grpSpPr>
          <a:xfrm>
            <a:off x="454381" y="3143911"/>
            <a:ext cx="523493" cy="416270"/>
            <a:chOff x="490713" y="1392210"/>
            <a:chExt cx="523493" cy="416270"/>
          </a:xfrm>
        </p:grpSpPr>
        <p:grpSp>
          <p:nvGrpSpPr>
            <p:cNvPr id="77" name="Группа 76">
              <a:extLst>
                <a:ext uri="{FF2B5EF4-FFF2-40B4-BE49-F238E27FC236}">
                  <a16:creationId xmlns:a16="http://schemas.microsoft.com/office/drawing/2014/main" id="{E581E669-73DC-4A16-A100-653A3CA25799}"/>
                </a:ext>
              </a:extLst>
            </p:cNvPr>
            <p:cNvGrpSpPr/>
            <p:nvPr/>
          </p:nvGrpSpPr>
          <p:grpSpPr>
            <a:xfrm>
              <a:off x="490713" y="1392210"/>
              <a:ext cx="523493" cy="416270"/>
              <a:chOff x="622705" y="1899098"/>
              <a:chExt cx="1736162" cy="1380560"/>
            </a:xfrm>
          </p:grpSpPr>
          <p:sp>
            <p:nvSpPr>
              <p:cNvPr id="108" name="Rounded Rectangle 46">
                <a:extLst>
                  <a:ext uri="{FF2B5EF4-FFF2-40B4-BE49-F238E27FC236}">
                    <a16:creationId xmlns:a16="http://schemas.microsoft.com/office/drawing/2014/main" id="{E3B3C298-702F-4C7A-AB43-414F685BFF34}"/>
                  </a:ext>
                </a:extLst>
              </p:cNvPr>
              <p:cNvSpPr/>
              <p:nvPr/>
            </p:nvSpPr>
            <p:spPr>
              <a:xfrm rot="18900000">
                <a:off x="964360" y="1899098"/>
                <a:ext cx="1394507" cy="1380560"/>
              </a:xfrm>
              <a:prstGeom prst="roundRect">
                <a:avLst/>
              </a:prstGeom>
              <a:solidFill>
                <a:srgbClr val="F4F4F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109" name="Rounded Rectangle 46">
                <a:extLst>
                  <a:ext uri="{FF2B5EF4-FFF2-40B4-BE49-F238E27FC236}">
                    <a16:creationId xmlns:a16="http://schemas.microsoft.com/office/drawing/2014/main" id="{98C47972-723C-4B5C-8EBF-E9D73B828E38}"/>
                  </a:ext>
                </a:extLst>
              </p:cNvPr>
              <p:cNvSpPr/>
              <p:nvPr/>
            </p:nvSpPr>
            <p:spPr>
              <a:xfrm rot="18900000">
                <a:off x="622705" y="1899098"/>
                <a:ext cx="1394507" cy="1380560"/>
              </a:xfrm>
              <a:prstGeom prst="roundRect">
                <a:avLst/>
              </a:prstGeom>
              <a:gradFill>
                <a:gsLst>
                  <a:gs pos="0">
                    <a:srgbClr val="0F6FC6"/>
                  </a:gs>
                  <a:gs pos="100000">
                    <a:srgbClr val="0BD0D9"/>
                  </a:gs>
                  <a:gs pos="57000">
                    <a:srgbClr val="019DD8"/>
                  </a:gs>
                </a:gsLst>
                <a:lin ang="4800000" scaled="0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78" name="TextBox 77">
              <a:extLst>
                <a:ext uri="{FF2B5EF4-FFF2-40B4-BE49-F238E27FC236}">
                  <a16:creationId xmlns:a16="http://schemas.microsoft.com/office/drawing/2014/main" id="{A7EDE688-8CA1-43B6-B679-E47D0D84CA90}"/>
                </a:ext>
              </a:extLst>
            </p:cNvPr>
            <p:cNvSpPr txBox="1"/>
            <p:nvPr/>
          </p:nvSpPr>
          <p:spPr>
            <a:xfrm>
              <a:off x="521676" y="1396502"/>
              <a:ext cx="348172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2000" b="1" dirty="0">
                  <a:solidFill>
                    <a:schemeClr val="bg1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4</a:t>
              </a:r>
            </a:p>
          </p:txBody>
        </p:sp>
      </p:grpSp>
      <p:sp>
        <p:nvSpPr>
          <p:cNvPr id="16" name="Прямоугольник 15">
            <a:extLst>
              <a:ext uri="{FF2B5EF4-FFF2-40B4-BE49-F238E27FC236}">
                <a16:creationId xmlns:a16="http://schemas.microsoft.com/office/drawing/2014/main" id="{46EEABA2-4F57-481B-9042-B20246AE6A38}"/>
              </a:ext>
            </a:extLst>
          </p:cNvPr>
          <p:cNvSpPr/>
          <p:nvPr/>
        </p:nvSpPr>
        <p:spPr>
          <a:xfrm>
            <a:off x="6093021" y="3230611"/>
            <a:ext cx="3656919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 err="1">
                <a:solidFill>
                  <a:schemeClr val="tx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қызмет</a:t>
            </a:r>
            <a:r>
              <a:rPr lang="ru-RU" sz="1400" dirty="0">
                <a:solidFill>
                  <a:schemeClr val="tx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solidFill>
                  <a:schemeClr val="tx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құнының</a:t>
            </a:r>
            <a:r>
              <a:rPr lang="ru-RU" sz="1400" dirty="0">
                <a:solidFill>
                  <a:schemeClr val="tx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solidFill>
                  <a:schemeClr val="tx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егіздемесімен</a:t>
            </a:r>
            <a:r>
              <a:rPr lang="ru-RU" sz="1400" dirty="0">
                <a:solidFill>
                  <a:schemeClr val="tx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solidFill>
                  <a:schemeClr val="tx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бірге</a:t>
            </a:r>
            <a:r>
              <a:rPr lang="ru-RU" sz="1400" dirty="0">
                <a:solidFill>
                  <a:schemeClr val="tx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solidFill>
                  <a:schemeClr val="tx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едициналық</a:t>
            </a:r>
            <a:r>
              <a:rPr lang="ru-RU" sz="1400" dirty="0">
                <a:solidFill>
                  <a:schemeClr val="tx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solidFill>
                  <a:schemeClr val="tx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қызметтер</a:t>
            </a:r>
            <a:r>
              <a:rPr lang="ru-RU" sz="1400" dirty="0">
                <a:solidFill>
                  <a:schemeClr val="tx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solidFill>
                  <a:schemeClr val="tx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арификаторын</a:t>
            </a:r>
            <a:r>
              <a:rPr lang="ru-RU" sz="1400" dirty="0">
                <a:solidFill>
                  <a:schemeClr val="tx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solidFill>
                  <a:schemeClr val="tx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қызметтің</a:t>
            </a:r>
            <a:r>
              <a:rPr lang="ru-RU" sz="1400" dirty="0">
                <a:solidFill>
                  <a:schemeClr val="tx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solidFill>
                  <a:schemeClr val="tx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құны</a:t>
            </a:r>
            <a:r>
              <a:rPr lang="ru-RU" sz="1400" dirty="0">
                <a:solidFill>
                  <a:schemeClr val="tx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solidFill>
                  <a:schemeClr val="tx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бөлігінде</a:t>
            </a:r>
            <a:r>
              <a:rPr lang="ru-RU" sz="1400" dirty="0">
                <a:solidFill>
                  <a:schemeClr val="tx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solidFill>
                  <a:schemeClr val="tx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қайта</a:t>
            </a:r>
            <a:r>
              <a:rPr lang="ru-RU" sz="1400" dirty="0">
                <a:solidFill>
                  <a:schemeClr val="tx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solidFill>
                  <a:schemeClr val="tx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қарау</a:t>
            </a:r>
            <a:endParaRPr lang="ru-RU" sz="1400" dirty="0">
              <a:solidFill>
                <a:schemeClr val="tx2">
                  <a:lumMod val="75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10" name="Прямоугольник 109">
            <a:extLst>
              <a:ext uri="{FF2B5EF4-FFF2-40B4-BE49-F238E27FC236}">
                <a16:creationId xmlns:a16="http://schemas.microsoft.com/office/drawing/2014/main" id="{2BA3BC63-DBFB-4CAB-A9E4-1935CFE533FF}"/>
              </a:ext>
            </a:extLst>
          </p:cNvPr>
          <p:cNvSpPr/>
          <p:nvPr/>
        </p:nvSpPr>
        <p:spPr>
          <a:xfrm>
            <a:off x="6258353" y="4267018"/>
            <a:ext cx="981359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200" b="1" dirty="0" err="1">
                <a:solidFill>
                  <a:srgbClr val="0F6FC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ауапты</a:t>
            </a:r>
            <a:r>
              <a:rPr lang="ru-RU" sz="1200" b="1" dirty="0">
                <a:solidFill>
                  <a:srgbClr val="0F6FC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:</a:t>
            </a:r>
            <a:endParaRPr lang="ru-RU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11" name="Shape 5654">
            <a:extLst>
              <a:ext uri="{FF2B5EF4-FFF2-40B4-BE49-F238E27FC236}">
                <a16:creationId xmlns:a16="http://schemas.microsoft.com/office/drawing/2014/main" id="{7740C26C-CD61-436B-A2C7-E57C4AEDBE51}"/>
              </a:ext>
            </a:extLst>
          </p:cNvPr>
          <p:cNvSpPr/>
          <p:nvPr/>
        </p:nvSpPr>
        <p:spPr>
          <a:xfrm>
            <a:off x="6093021" y="4313859"/>
            <a:ext cx="204152" cy="19070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4800"/>
                </a:moveTo>
                <a:cubicBezTo>
                  <a:pt x="21600" y="6300"/>
                  <a:pt x="21600" y="6300"/>
                  <a:pt x="21600" y="6300"/>
                </a:cubicBezTo>
                <a:cubicBezTo>
                  <a:pt x="20197" y="6300"/>
                  <a:pt x="20197" y="6300"/>
                  <a:pt x="20197" y="6300"/>
                </a:cubicBezTo>
                <a:cubicBezTo>
                  <a:pt x="20197" y="6600"/>
                  <a:pt x="19636" y="6900"/>
                  <a:pt x="19356" y="6900"/>
                </a:cubicBezTo>
                <a:cubicBezTo>
                  <a:pt x="2244" y="6900"/>
                  <a:pt x="2244" y="6900"/>
                  <a:pt x="2244" y="6900"/>
                </a:cubicBezTo>
                <a:cubicBezTo>
                  <a:pt x="1683" y="6900"/>
                  <a:pt x="1403" y="6600"/>
                  <a:pt x="1403" y="6300"/>
                </a:cubicBezTo>
                <a:cubicBezTo>
                  <a:pt x="0" y="6300"/>
                  <a:pt x="0" y="6300"/>
                  <a:pt x="0" y="6300"/>
                </a:cubicBezTo>
                <a:cubicBezTo>
                  <a:pt x="0" y="4800"/>
                  <a:pt x="0" y="4800"/>
                  <a:pt x="0" y="4800"/>
                </a:cubicBezTo>
                <a:cubicBezTo>
                  <a:pt x="10660" y="0"/>
                  <a:pt x="10660" y="0"/>
                  <a:pt x="10660" y="0"/>
                </a:cubicBezTo>
                <a:lnTo>
                  <a:pt x="21600" y="4800"/>
                </a:lnTo>
                <a:close/>
                <a:moveTo>
                  <a:pt x="21600" y="20100"/>
                </a:moveTo>
                <a:cubicBezTo>
                  <a:pt x="21600" y="21600"/>
                  <a:pt x="21600" y="21600"/>
                  <a:pt x="21600" y="21600"/>
                </a:cubicBezTo>
                <a:cubicBezTo>
                  <a:pt x="0" y="21600"/>
                  <a:pt x="0" y="21600"/>
                  <a:pt x="0" y="21600"/>
                </a:cubicBezTo>
                <a:cubicBezTo>
                  <a:pt x="0" y="20100"/>
                  <a:pt x="0" y="20100"/>
                  <a:pt x="0" y="20100"/>
                </a:cubicBezTo>
                <a:cubicBezTo>
                  <a:pt x="0" y="19800"/>
                  <a:pt x="281" y="19500"/>
                  <a:pt x="842" y="19500"/>
                </a:cubicBezTo>
                <a:cubicBezTo>
                  <a:pt x="20758" y="19500"/>
                  <a:pt x="20758" y="19500"/>
                  <a:pt x="20758" y="19500"/>
                </a:cubicBezTo>
                <a:cubicBezTo>
                  <a:pt x="21319" y="19500"/>
                  <a:pt x="21600" y="19800"/>
                  <a:pt x="21600" y="20100"/>
                </a:cubicBezTo>
                <a:close/>
                <a:moveTo>
                  <a:pt x="5610" y="7800"/>
                </a:moveTo>
                <a:cubicBezTo>
                  <a:pt x="5610" y="17100"/>
                  <a:pt x="5610" y="17100"/>
                  <a:pt x="5610" y="17100"/>
                </a:cubicBezTo>
                <a:cubicBezTo>
                  <a:pt x="7013" y="17100"/>
                  <a:pt x="7013" y="17100"/>
                  <a:pt x="7013" y="17100"/>
                </a:cubicBezTo>
                <a:cubicBezTo>
                  <a:pt x="7013" y="7800"/>
                  <a:pt x="7013" y="7800"/>
                  <a:pt x="7013" y="7800"/>
                </a:cubicBezTo>
                <a:cubicBezTo>
                  <a:pt x="10099" y="7800"/>
                  <a:pt x="10099" y="7800"/>
                  <a:pt x="10099" y="7800"/>
                </a:cubicBezTo>
                <a:cubicBezTo>
                  <a:pt x="10099" y="17100"/>
                  <a:pt x="10099" y="17100"/>
                  <a:pt x="10099" y="17100"/>
                </a:cubicBezTo>
                <a:cubicBezTo>
                  <a:pt x="11501" y="17100"/>
                  <a:pt x="11501" y="17100"/>
                  <a:pt x="11501" y="17100"/>
                </a:cubicBezTo>
                <a:cubicBezTo>
                  <a:pt x="11501" y="7800"/>
                  <a:pt x="11501" y="7800"/>
                  <a:pt x="11501" y="7800"/>
                </a:cubicBezTo>
                <a:cubicBezTo>
                  <a:pt x="14306" y="7800"/>
                  <a:pt x="14306" y="7800"/>
                  <a:pt x="14306" y="7800"/>
                </a:cubicBezTo>
                <a:cubicBezTo>
                  <a:pt x="14306" y="17100"/>
                  <a:pt x="14306" y="17100"/>
                  <a:pt x="14306" y="17100"/>
                </a:cubicBezTo>
                <a:cubicBezTo>
                  <a:pt x="15709" y="17100"/>
                  <a:pt x="15709" y="17100"/>
                  <a:pt x="15709" y="17100"/>
                </a:cubicBezTo>
                <a:cubicBezTo>
                  <a:pt x="15709" y="7800"/>
                  <a:pt x="15709" y="7800"/>
                  <a:pt x="15709" y="7800"/>
                </a:cubicBezTo>
                <a:cubicBezTo>
                  <a:pt x="18795" y="7800"/>
                  <a:pt x="18795" y="7800"/>
                  <a:pt x="18795" y="7800"/>
                </a:cubicBezTo>
                <a:cubicBezTo>
                  <a:pt x="18795" y="17100"/>
                  <a:pt x="18795" y="17100"/>
                  <a:pt x="18795" y="17100"/>
                </a:cubicBezTo>
                <a:cubicBezTo>
                  <a:pt x="19356" y="17100"/>
                  <a:pt x="19356" y="17100"/>
                  <a:pt x="19356" y="17100"/>
                </a:cubicBezTo>
                <a:cubicBezTo>
                  <a:pt x="19636" y="17100"/>
                  <a:pt x="20197" y="17400"/>
                  <a:pt x="20197" y="17700"/>
                </a:cubicBezTo>
                <a:cubicBezTo>
                  <a:pt x="20197" y="18600"/>
                  <a:pt x="20197" y="18600"/>
                  <a:pt x="20197" y="18600"/>
                </a:cubicBezTo>
                <a:cubicBezTo>
                  <a:pt x="1403" y="18600"/>
                  <a:pt x="1403" y="18600"/>
                  <a:pt x="1403" y="18600"/>
                </a:cubicBezTo>
                <a:cubicBezTo>
                  <a:pt x="1403" y="17700"/>
                  <a:pt x="1403" y="17700"/>
                  <a:pt x="1403" y="17700"/>
                </a:cubicBezTo>
                <a:cubicBezTo>
                  <a:pt x="1403" y="17400"/>
                  <a:pt x="1683" y="17100"/>
                  <a:pt x="2244" y="17100"/>
                </a:cubicBezTo>
                <a:cubicBezTo>
                  <a:pt x="2805" y="17100"/>
                  <a:pt x="2805" y="17100"/>
                  <a:pt x="2805" y="17100"/>
                </a:cubicBezTo>
                <a:cubicBezTo>
                  <a:pt x="2805" y="7800"/>
                  <a:pt x="2805" y="7800"/>
                  <a:pt x="2805" y="7800"/>
                </a:cubicBezTo>
                <a:lnTo>
                  <a:pt x="5610" y="7800"/>
                </a:lnTo>
                <a:close/>
              </a:path>
            </a:pathLst>
          </a:custGeom>
          <a:solidFill>
            <a:srgbClr val="0F6FC6"/>
          </a:solidFill>
          <a:ln w="12700" cap="flat">
            <a:noFill/>
            <a:miter lim="400000"/>
          </a:ln>
          <a:effectLst/>
        </p:spPr>
        <p:txBody>
          <a:bodyPr wrap="square" lIns="45713" tIns="45713" rIns="45713" bIns="45713" numCol="1" anchor="t">
            <a:noAutofit/>
          </a:bodyPr>
          <a:lstStyle/>
          <a:p>
            <a:pPr defTabSz="457109">
              <a:defRPr sz="24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pPr>
            <a:endParaRPr sz="2400"/>
          </a:p>
        </p:txBody>
      </p:sp>
      <p:sp>
        <p:nvSpPr>
          <p:cNvPr id="112" name="Прямоугольник 111">
            <a:extLst>
              <a:ext uri="{FF2B5EF4-FFF2-40B4-BE49-F238E27FC236}">
                <a16:creationId xmlns:a16="http://schemas.microsoft.com/office/drawing/2014/main" id="{8A179587-2419-4F3E-95A0-3215AA53150D}"/>
              </a:ext>
            </a:extLst>
          </p:cNvPr>
          <p:cNvSpPr/>
          <p:nvPr/>
        </p:nvSpPr>
        <p:spPr>
          <a:xfrm>
            <a:off x="7822267" y="4281532"/>
            <a:ext cx="1558440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4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ҚР ДСМ, ӘМСҚ</a:t>
            </a:r>
            <a:endParaRPr lang="ru-RU" sz="14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13" name="Равнобедренный треугольник 112">
            <a:extLst>
              <a:ext uri="{FF2B5EF4-FFF2-40B4-BE49-F238E27FC236}">
                <a16:creationId xmlns:a16="http://schemas.microsoft.com/office/drawing/2014/main" id="{A3A10815-B362-44E8-A27C-7C70943BEF1D}"/>
              </a:ext>
            </a:extLst>
          </p:cNvPr>
          <p:cNvSpPr/>
          <p:nvPr/>
        </p:nvSpPr>
        <p:spPr>
          <a:xfrm rot="5400000">
            <a:off x="5043314" y="1863262"/>
            <a:ext cx="1166935" cy="292322"/>
          </a:xfrm>
          <a:prstGeom prst="triangle">
            <a:avLst/>
          </a:prstGeom>
          <a:solidFill>
            <a:srgbClr val="DEEB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4" name="Равнобедренный треугольник 113">
            <a:extLst>
              <a:ext uri="{FF2B5EF4-FFF2-40B4-BE49-F238E27FC236}">
                <a16:creationId xmlns:a16="http://schemas.microsoft.com/office/drawing/2014/main" id="{DDEFADDE-DBEA-404C-A59B-0A00303F8F53}"/>
              </a:ext>
            </a:extLst>
          </p:cNvPr>
          <p:cNvSpPr/>
          <p:nvPr/>
        </p:nvSpPr>
        <p:spPr>
          <a:xfrm rot="5400000">
            <a:off x="4956061" y="3658180"/>
            <a:ext cx="1325880" cy="228600"/>
          </a:xfrm>
          <a:prstGeom prst="triangle">
            <a:avLst/>
          </a:prstGeom>
          <a:solidFill>
            <a:srgbClr val="DEEB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34" name="Группа 33">
            <a:extLst>
              <a:ext uri="{FF2B5EF4-FFF2-40B4-BE49-F238E27FC236}">
                <a16:creationId xmlns:a16="http://schemas.microsoft.com/office/drawing/2014/main" id="{0BF3E0D9-8C8C-4B1A-9742-2FCCA96545DD}"/>
              </a:ext>
            </a:extLst>
          </p:cNvPr>
          <p:cNvGrpSpPr/>
          <p:nvPr/>
        </p:nvGrpSpPr>
        <p:grpSpPr>
          <a:xfrm>
            <a:off x="450588" y="4952229"/>
            <a:ext cx="523493" cy="461665"/>
            <a:chOff x="490713" y="1351280"/>
            <a:chExt cx="523493" cy="461665"/>
          </a:xfrm>
        </p:grpSpPr>
        <p:grpSp>
          <p:nvGrpSpPr>
            <p:cNvPr id="35" name="Группа 34">
              <a:extLst>
                <a:ext uri="{FF2B5EF4-FFF2-40B4-BE49-F238E27FC236}">
                  <a16:creationId xmlns:a16="http://schemas.microsoft.com/office/drawing/2014/main" id="{790550D1-2801-44A1-940E-2B9DCE7F7B2F}"/>
                </a:ext>
              </a:extLst>
            </p:cNvPr>
            <p:cNvGrpSpPr/>
            <p:nvPr/>
          </p:nvGrpSpPr>
          <p:grpSpPr>
            <a:xfrm>
              <a:off x="490713" y="1392210"/>
              <a:ext cx="523493" cy="416270"/>
              <a:chOff x="622705" y="1899098"/>
              <a:chExt cx="1736162" cy="1380560"/>
            </a:xfrm>
          </p:grpSpPr>
          <p:sp>
            <p:nvSpPr>
              <p:cNvPr id="37" name="Rounded Rectangle 46">
                <a:extLst>
                  <a:ext uri="{FF2B5EF4-FFF2-40B4-BE49-F238E27FC236}">
                    <a16:creationId xmlns:a16="http://schemas.microsoft.com/office/drawing/2014/main" id="{BEFF7DBA-DFF1-484F-B07E-9DEB6CE8477D}"/>
                  </a:ext>
                </a:extLst>
              </p:cNvPr>
              <p:cNvSpPr/>
              <p:nvPr/>
            </p:nvSpPr>
            <p:spPr>
              <a:xfrm rot="18900000">
                <a:off x="964360" y="1899098"/>
                <a:ext cx="1394507" cy="1380560"/>
              </a:xfrm>
              <a:prstGeom prst="roundRect">
                <a:avLst/>
              </a:prstGeom>
              <a:solidFill>
                <a:srgbClr val="F4F4F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38" name="Rounded Rectangle 46">
                <a:extLst>
                  <a:ext uri="{FF2B5EF4-FFF2-40B4-BE49-F238E27FC236}">
                    <a16:creationId xmlns:a16="http://schemas.microsoft.com/office/drawing/2014/main" id="{C46C9590-039C-4778-91DD-7C37DA143AFC}"/>
                  </a:ext>
                </a:extLst>
              </p:cNvPr>
              <p:cNvSpPr/>
              <p:nvPr/>
            </p:nvSpPr>
            <p:spPr>
              <a:xfrm rot="18900000">
                <a:off x="622705" y="1899098"/>
                <a:ext cx="1394507" cy="1380560"/>
              </a:xfrm>
              <a:prstGeom prst="roundRect">
                <a:avLst/>
              </a:prstGeom>
              <a:gradFill>
                <a:gsLst>
                  <a:gs pos="0">
                    <a:srgbClr val="0F6FC6"/>
                  </a:gs>
                  <a:gs pos="100000">
                    <a:srgbClr val="0BD0D9"/>
                  </a:gs>
                  <a:gs pos="57000">
                    <a:srgbClr val="019DD8"/>
                  </a:gs>
                </a:gsLst>
                <a:lin ang="4800000" scaled="0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927449A4-F4C4-4B34-B853-1668BD2463CE}"/>
                </a:ext>
              </a:extLst>
            </p:cNvPr>
            <p:cNvSpPr txBox="1"/>
            <p:nvPr/>
          </p:nvSpPr>
          <p:spPr>
            <a:xfrm>
              <a:off x="508000" y="1351280"/>
              <a:ext cx="380232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2400" b="1" dirty="0">
                  <a:solidFill>
                    <a:schemeClr val="bg1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5</a:t>
              </a:r>
            </a:p>
          </p:txBody>
        </p:sp>
      </p:grpSp>
      <p:sp>
        <p:nvSpPr>
          <p:cNvPr id="39" name="Прямоугольник 38">
            <a:extLst>
              <a:ext uri="{FF2B5EF4-FFF2-40B4-BE49-F238E27FC236}">
                <a16:creationId xmlns:a16="http://schemas.microsoft.com/office/drawing/2014/main" id="{2134866C-2678-4BA1-8F83-0BC46AFF131B}"/>
              </a:ext>
            </a:extLst>
          </p:cNvPr>
          <p:cNvSpPr/>
          <p:nvPr/>
        </p:nvSpPr>
        <p:spPr>
          <a:xfrm>
            <a:off x="1110269" y="4967618"/>
            <a:ext cx="3895804" cy="10926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0"/>
              </a:spcAft>
            </a:pPr>
            <a:r>
              <a:rPr lang="ru-RU" sz="1300" b="1" dirty="0" err="1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Бірыңғай</a:t>
            </a:r>
            <a:r>
              <a:rPr lang="ru-RU" sz="13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АЖ-</a:t>
            </a:r>
            <a:r>
              <a:rPr lang="ru-RU" sz="1300" b="1" dirty="0" err="1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ың</a:t>
            </a:r>
            <a:r>
              <a:rPr lang="ru-RU" sz="13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300" b="1" dirty="0" err="1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болмауы</a:t>
            </a:r>
            <a:r>
              <a:rPr lang="ru-RU" sz="13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.</a:t>
            </a:r>
          </a:p>
          <a:p>
            <a:r>
              <a:rPr lang="ru-RU" sz="13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ациент </a:t>
            </a:r>
            <a:r>
              <a:rPr lang="ru-RU" sz="1300" b="1" dirty="0" err="1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уралы</a:t>
            </a:r>
            <a:r>
              <a:rPr lang="ru-RU" sz="13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300" b="1" dirty="0" err="1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ақпаратты</a:t>
            </a:r>
            <a:r>
              <a:rPr lang="ru-RU" sz="13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300" b="1" dirty="0" err="1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алу</a:t>
            </a:r>
            <a:r>
              <a:rPr lang="ru-RU" sz="13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300" b="1" dirty="0" err="1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үшін</a:t>
            </a:r>
            <a:r>
              <a:rPr lang="ru-RU" sz="13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300" b="1" dirty="0" err="1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орталдар</a:t>
            </a:r>
            <a:r>
              <a:rPr lang="ru-RU" sz="13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300" b="1" dirty="0" err="1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арасында</a:t>
            </a:r>
            <a:r>
              <a:rPr lang="ru-RU" sz="13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интеграция </a:t>
            </a:r>
            <a:r>
              <a:rPr lang="ru-RU" sz="1300" b="1" dirty="0" err="1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оқ</a:t>
            </a:r>
            <a:r>
              <a:rPr lang="ru-RU" sz="13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, </a:t>
            </a:r>
            <a:r>
              <a:rPr lang="ru-RU" sz="1300" b="1" dirty="0" err="1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бұл</a:t>
            </a:r>
            <a:r>
              <a:rPr lang="ru-RU" sz="13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300" b="1" dirty="0" err="1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бір</a:t>
            </a:r>
            <a:r>
              <a:rPr lang="ru-RU" sz="13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пациентке </a:t>
            </a:r>
            <a:r>
              <a:rPr lang="ru-RU" sz="1300" b="1" dirty="0" err="1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қызмет</a:t>
            </a:r>
            <a:r>
              <a:rPr lang="ru-RU" sz="13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300" b="1" dirty="0" err="1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өрсету</a:t>
            </a:r>
            <a:r>
              <a:rPr lang="ru-RU" sz="13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300" b="1" dirty="0" err="1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уақытын</a:t>
            </a:r>
            <a:r>
              <a:rPr lang="ru-RU" sz="13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300" b="1" dirty="0" err="1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ұзартады</a:t>
            </a:r>
            <a:r>
              <a:rPr lang="ru-RU" sz="13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. </a:t>
            </a:r>
            <a:endParaRPr lang="ru-RU" sz="1300" dirty="0">
              <a:solidFill>
                <a:srgbClr val="00206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0" name="Shape 5654">
            <a:extLst>
              <a:ext uri="{FF2B5EF4-FFF2-40B4-BE49-F238E27FC236}">
                <a16:creationId xmlns:a16="http://schemas.microsoft.com/office/drawing/2014/main" id="{BB5D5706-5EE5-4B11-9C3D-922584993728}"/>
              </a:ext>
            </a:extLst>
          </p:cNvPr>
          <p:cNvSpPr/>
          <p:nvPr/>
        </p:nvSpPr>
        <p:spPr>
          <a:xfrm>
            <a:off x="6173849" y="6239806"/>
            <a:ext cx="204152" cy="19070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4800"/>
                </a:moveTo>
                <a:cubicBezTo>
                  <a:pt x="21600" y="6300"/>
                  <a:pt x="21600" y="6300"/>
                  <a:pt x="21600" y="6300"/>
                </a:cubicBezTo>
                <a:cubicBezTo>
                  <a:pt x="20197" y="6300"/>
                  <a:pt x="20197" y="6300"/>
                  <a:pt x="20197" y="6300"/>
                </a:cubicBezTo>
                <a:cubicBezTo>
                  <a:pt x="20197" y="6600"/>
                  <a:pt x="19636" y="6900"/>
                  <a:pt x="19356" y="6900"/>
                </a:cubicBezTo>
                <a:cubicBezTo>
                  <a:pt x="2244" y="6900"/>
                  <a:pt x="2244" y="6900"/>
                  <a:pt x="2244" y="6900"/>
                </a:cubicBezTo>
                <a:cubicBezTo>
                  <a:pt x="1683" y="6900"/>
                  <a:pt x="1403" y="6600"/>
                  <a:pt x="1403" y="6300"/>
                </a:cubicBezTo>
                <a:cubicBezTo>
                  <a:pt x="0" y="6300"/>
                  <a:pt x="0" y="6300"/>
                  <a:pt x="0" y="6300"/>
                </a:cubicBezTo>
                <a:cubicBezTo>
                  <a:pt x="0" y="4800"/>
                  <a:pt x="0" y="4800"/>
                  <a:pt x="0" y="4800"/>
                </a:cubicBezTo>
                <a:cubicBezTo>
                  <a:pt x="10660" y="0"/>
                  <a:pt x="10660" y="0"/>
                  <a:pt x="10660" y="0"/>
                </a:cubicBezTo>
                <a:lnTo>
                  <a:pt x="21600" y="4800"/>
                </a:lnTo>
                <a:close/>
                <a:moveTo>
                  <a:pt x="21600" y="20100"/>
                </a:moveTo>
                <a:cubicBezTo>
                  <a:pt x="21600" y="21600"/>
                  <a:pt x="21600" y="21600"/>
                  <a:pt x="21600" y="21600"/>
                </a:cubicBezTo>
                <a:cubicBezTo>
                  <a:pt x="0" y="21600"/>
                  <a:pt x="0" y="21600"/>
                  <a:pt x="0" y="21600"/>
                </a:cubicBezTo>
                <a:cubicBezTo>
                  <a:pt x="0" y="20100"/>
                  <a:pt x="0" y="20100"/>
                  <a:pt x="0" y="20100"/>
                </a:cubicBezTo>
                <a:cubicBezTo>
                  <a:pt x="0" y="19800"/>
                  <a:pt x="281" y="19500"/>
                  <a:pt x="842" y="19500"/>
                </a:cubicBezTo>
                <a:cubicBezTo>
                  <a:pt x="20758" y="19500"/>
                  <a:pt x="20758" y="19500"/>
                  <a:pt x="20758" y="19500"/>
                </a:cubicBezTo>
                <a:cubicBezTo>
                  <a:pt x="21319" y="19500"/>
                  <a:pt x="21600" y="19800"/>
                  <a:pt x="21600" y="20100"/>
                </a:cubicBezTo>
                <a:close/>
                <a:moveTo>
                  <a:pt x="5610" y="7800"/>
                </a:moveTo>
                <a:cubicBezTo>
                  <a:pt x="5610" y="17100"/>
                  <a:pt x="5610" y="17100"/>
                  <a:pt x="5610" y="17100"/>
                </a:cubicBezTo>
                <a:cubicBezTo>
                  <a:pt x="7013" y="17100"/>
                  <a:pt x="7013" y="17100"/>
                  <a:pt x="7013" y="17100"/>
                </a:cubicBezTo>
                <a:cubicBezTo>
                  <a:pt x="7013" y="7800"/>
                  <a:pt x="7013" y="7800"/>
                  <a:pt x="7013" y="7800"/>
                </a:cubicBezTo>
                <a:cubicBezTo>
                  <a:pt x="10099" y="7800"/>
                  <a:pt x="10099" y="7800"/>
                  <a:pt x="10099" y="7800"/>
                </a:cubicBezTo>
                <a:cubicBezTo>
                  <a:pt x="10099" y="17100"/>
                  <a:pt x="10099" y="17100"/>
                  <a:pt x="10099" y="17100"/>
                </a:cubicBezTo>
                <a:cubicBezTo>
                  <a:pt x="11501" y="17100"/>
                  <a:pt x="11501" y="17100"/>
                  <a:pt x="11501" y="17100"/>
                </a:cubicBezTo>
                <a:cubicBezTo>
                  <a:pt x="11501" y="7800"/>
                  <a:pt x="11501" y="7800"/>
                  <a:pt x="11501" y="7800"/>
                </a:cubicBezTo>
                <a:cubicBezTo>
                  <a:pt x="14306" y="7800"/>
                  <a:pt x="14306" y="7800"/>
                  <a:pt x="14306" y="7800"/>
                </a:cubicBezTo>
                <a:cubicBezTo>
                  <a:pt x="14306" y="17100"/>
                  <a:pt x="14306" y="17100"/>
                  <a:pt x="14306" y="17100"/>
                </a:cubicBezTo>
                <a:cubicBezTo>
                  <a:pt x="15709" y="17100"/>
                  <a:pt x="15709" y="17100"/>
                  <a:pt x="15709" y="17100"/>
                </a:cubicBezTo>
                <a:cubicBezTo>
                  <a:pt x="15709" y="7800"/>
                  <a:pt x="15709" y="7800"/>
                  <a:pt x="15709" y="7800"/>
                </a:cubicBezTo>
                <a:cubicBezTo>
                  <a:pt x="18795" y="7800"/>
                  <a:pt x="18795" y="7800"/>
                  <a:pt x="18795" y="7800"/>
                </a:cubicBezTo>
                <a:cubicBezTo>
                  <a:pt x="18795" y="17100"/>
                  <a:pt x="18795" y="17100"/>
                  <a:pt x="18795" y="17100"/>
                </a:cubicBezTo>
                <a:cubicBezTo>
                  <a:pt x="19356" y="17100"/>
                  <a:pt x="19356" y="17100"/>
                  <a:pt x="19356" y="17100"/>
                </a:cubicBezTo>
                <a:cubicBezTo>
                  <a:pt x="19636" y="17100"/>
                  <a:pt x="20197" y="17400"/>
                  <a:pt x="20197" y="17700"/>
                </a:cubicBezTo>
                <a:cubicBezTo>
                  <a:pt x="20197" y="18600"/>
                  <a:pt x="20197" y="18600"/>
                  <a:pt x="20197" y="18600"/>
                </a:cubicBezTo>
                <a:cubicBezTo>
                  <a:pt x="1403" y="18600"/>
                  <a:pt x="1403" y="18600"/>
                  <a:pt x="1403" y="18600"/>
                </a:cubicBezTo>
                <a:cubicBezTo>
                  <a:pt x="1403" y="17700"/>
                  <a:pt x="1403" y="17700"/>
                  <a:pt x="1403" y="17700"/>
                </a:cubicBezTo>
                <a:cubicBezTo>
                  <a:pt x="1403" y="17400"/>
                  <a:pt x="1683" y="17100"/>
                  <a:pt x="2244" y="17100"/>
                </a:cubicBezTo>
                <a:cubicBezTo>
                  <a:pt x="2805" y="17100"/>
                  <a:pt x="2805" y="17100"/>
                  <a:pt x="2805" y="17100"/>
                </a:cubicBezTo>
                <a:cubicBezTo>
                  <a:pt x="2805" y="7800"/>
                  <a:pt x="2805" y="7800"/>
                  <a:pt x="2805" y="7800"/>
                </a:cubicBezTo>
                <a:lnTo>
                  <a:pt x="5610" y="7800"/>
                </a:lnTo>
                <a:close/>
              </a:path>
            </a:pathLst>
          </a:custGeom>
          <a:solidFill>
            <a:srgbClr val="0F6FC6"/>
          </a:solidFill>
          <a:ln w="12700" cap="flat">
            <a:noFill/>
            <a:miter lim="400000"/>
          </a:ln>
          <a:effectLst/>
        </p:spPr>
        <p:txBody>
          <a:bodyPr wrap="square" lIns="45713" tIns="45713" rIns="45713" bIns="45713" numCol="1" anchor="t">
            <a:noAutofit/>
          </a:bodyPr>
          <a:lstStyle/>
          <a:p>
            <a:pPr defTabSz="457109">
              <a:defRPr sz="24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pPr>
            <a:endParaRPr sz="2400"/>
          </a:p>
        </p:txBody>
      </p:sp>
      <p:sp>
        <p:nvSpPr>
          <p:cNvPr id="42" name="Прямоугольник 41">
            <a:extLst>
              <a:ext uri="{FF2B5EF4-FFF2-40B4-BE49-F238E27FC236}">
                <a16:creationId xmlns:a16="http://schemas.microsoft.com/office/drawing/2014/main" id="{33F66A74-0A94-4005-808D-CD164EF9D909}"/>
              </a:ext>
            </a:extLst>
          </p:cNvPr>
          <p:cNvSpPr/>
          <p:nvPr/>
        </p:nvSpPr>
        <p:spPr>
          <a:xfrm>
            <a:off x="6127358" y="6440658"/>
            <a:ext cx="4326826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2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ҚР ДСМ, ӘМСҚ</a:t>
            </a:r>
            <a:r>
              <a:rPr lang="ru-RU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,</a:t>
            </a:r>
            <a:r>
              <a:rPr lang="ru-RU" sz="12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РЭДСО, ЖАО (МАЖ </a:t>
            </a:r>
            <a:r>
              <a:rPr lang="ru-RU" sz="1200" b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әзірлеушілері</a:t>
            </a:r>
            <a:r>
              <a:rPr lang="ru-RU" sz="12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)</a:t>
            </a:r>
            <a:endParaRPr lang="ru-RU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8" name="Прямоугольник 47">
            <a:extLst>
              <a:ext uri="{FF2B5EF4-FFF2-40B4-BE49-F238E27FC236}">
                <a16:creationId xmlns:a16="http://schemas.microsoft.com/office/drawing/2014/main" id="{7399078C-3A11-453B-A7EE-2D131130F82B}"/>
              </a:ext>
            </a:extLst>
          </p:cNvPr>
          <p:cNvSpPr/>
          <p:nvPr/>
        </p:nvSpPr>
        <p:spPr>
          <a:xfrm>
            <a:off x="5733301" y="4988244"/>
            <a:ext cx="5151032" cy="108234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1000"/>
              </a:spcAft>
            </a:pPr>
            <a:r>
              <a:rPr lang="ru-RU" sz="1400" dirty="0" err="1">
                <a:solidFill>
                  <a:schemeClr val="tx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Деректердің</a:t>
            </a:r>
            <a:r>
              <a:rPr lang="ru-RU" sz="1400" dirty="0">
                <a:solidFill>
                  <a:schemeClr val="tx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solidFill>
                  <a:schemeClr val="tx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қажетті</a:t>
            </a:r>
            <a:r>
              <a:rPr lang="ru-RU" sz="1400" dirty="0">
                <a:solidFill>
                  <a:schemeClr val="tx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solidFill>
                  <a:schemeClr val="tx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өлемін</a:t>
            </a:r>
            <a:r>
              <a:rPr lang="ru-RU" sz="1400" dirty="0">
                <a:solidFill>
                  <a:schemeClr val="tx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solidFill>
                  <a:schemeClr val="tx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ескере</a:t>
            </a:r>
            <a:r>
              <a:rPr lang="ru-RU" sz="1400" dirty="0">
                <a:solidFill>
                  <a:schemeClr val="tx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solidFill>
                  <a:schemeClr val="tx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тырып</a:t>
            </a:r>
            <a:r>
              <a:rPr lang="ru-RU" sz="1400" dirty="0">
                <a:solidFill>
                  <a:schemeClr val="tx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, </a:t>
            </a:r>
            <a:r>
              <a:rPr lang="ru-RU" sz="1400" dirty="0" err="1">
                <a:solidFill>
                  <a:schemeClr val="tx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үйелердің</a:t>
            </a:r>
            <a:r>
              <a:rPr lang="ru-RU" sz="1400" dirty="0">
                <a:solidFill>
                  <a:schemeClr val="tx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solidFill>
                  <a:schemeClr val="tx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интеграциясын</a:t>
            </a:r>
            <a:r>
              <a:rPr lang="ru-RU" sz="1400" dirty="0">
                <a:solidFill>
                  <a:schemeClr val="tx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solidFill>
                  <a:schemeClr val="tx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үргізу</a:t>
            </a:r>
            <a:r>
              <a:rPr lang="ru-RU" sz="1400" dirty="0">
                <a:solidFill>
                  <a:schemeClr val="tx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(</a:t>
            </a:r>
            <a:r>
              <a:rPr lang="ru-RU" sz="1400" dirty="0" err="1">
                <a:solidFill>
                  <a:schemeClr val="tx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ервистерді</a:t>
            </a:r>
            <a:r>
              <a:rPr lang="ru-RU" sz="1400" dirty="0">
                <a:solidFill>
                  <a:schemeClr val="tx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solidFill>
                  <a:schemeClr val="tx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одификациялау</a:t>
            </a:r>
            <a:r>
              <a:rPr lang="ru-RU" sz="1400" dirty="0">
                <a:solidFill>
                  <a:schemeClr val="tx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)</a:t>
            </a:r>
          </a:p>
          <a:p>
            <a:pPr>
              <a:spcAft>
                <a:spcPts val="1000"/>
              </a:spcAft>
            </a:pPr>
            <a:r>
              <a:rPr lang="ru-RU" sz="1400" dirty="0" err="1">
                <a:solidFill>
                  <a:schemeClr val="tx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Электрондық</a:t>
            </a:r>
            <a:r>
              <a:rPr lang="ru-RU" sz="1400" dirty="0">
                <a:solidFill>
                  <a:schemeClr val="tx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solidFill>
                  <a:schemeClr val="tx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денсаулық</a:t>
            </a:r>
            <a:r>
              <a:rPr lang="ru-RU" sz="1400" dirty="0">
                <a:solidFill>
                  <a:schemeClr val="tx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solidFill>
                  <a:schemeClr val="tx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ақтаудың</a:t>
            </a:r>
            <a:r>
              <a:rPr lang="ru-RU" sz="1400" dirty="0">
                <a:solidFill>
                  <a:schemeClr val="tx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solidFill>
                  <a:schemeClr val="tx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аңа</a:t>
            </a:r>
            <a:r>
              <a:rPr lang="ru-RU" sz="1400" dirty="0">
                <a:solidFill>
                  <a:schemeClr val="tx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solidFill>
                  <a:schemeClr val="tx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архитектурасына</a:t>
            </a:r>
            <a:r>
              <a:rPr lang="ru-RU" sz="1400" dirty="0">
                <a:solidFill>
                  <a:schemeClr val="tx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(</a:t>
            </a:r>
            <a:r>
              <a:rPr lang="en-US" sz="1400" dirty="0">
                <a:solidFill>
                  <a:schemeClr val="tx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eHealth</a:t>
            </a:r>
            <a:r>
              <a:rPr lang="kk-KZ" sz="1400" dirty="0">
                <a:solidFill>
                  <a:schemeClr val="tx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және ДдТжҚТФБ</a:t>
            </a:r>
            <a:r>
              <a:rPr lang="en-US" sz="1400" dirty="0">
                <a:solidFill>
                  <a:schemeClr val="tx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solidFill>
                  <a:schemeClr val="tx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ядросын</a:t>
            </a:r>
            <a:r>
              <a:rPr lang="ru-RU" sz="1400" dirty="0">
                <a:solidFill>
                  <a:schemeClr val="tx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solidFill>
                  <a:schemeClr val="tx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енгізу</a:t>
            </a:r>
            <a:r>
              <a:rPr lang="ru-RU" sz="1400" dirty="0">
                <a:solidFill>
                  <a:schemeClr val="tx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) </a:t>
            </a:r>
            <a:r>
              <a:rPr lang="ru-RU" sz="1400" dirty="0" err="1">
                <a:solidFill>
                  <a:schemeClr val="tx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өшу</a:t>
            </a:r>
            <a:endParaRPr lang="ru-RU" sz="1400" dirty="0">
              <a:solidFill>
                <a:schemeClr val="tx2">
                  <a:lumMod val="75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cxnSp>
        <p:nvCxnSpPr>
          <p:cNvPr id="49" name="Прямая соединительная линия 48">
            <a:extLst>
              <a:ext uri="{FF2B5EF4-FFF2-40B4-BE49-F238E27FC236}">
                <a16:creationId xmlns:a16="http://schemas.microsoft.com/office/drawing/2014/main" id="{975A6D91-7FF0-4811-9C20-7836736FD667}"/>
              </a:ext>
            </a:extLst>
          </p:cNvPr>
          <p:cNvCxnSpPr>
            <a:cxnSpLocks/>
          </p:cNvCxnSpPr>
          <p:nvPr/>
        </p:nvCxnSpPr>
        <p:spPr>
          <a:xfrm flipH="1">
            <a:off x="398391" y="4812153"/>
            <a:ext cx="10067651" cy="1"/>
          </a:xfrm>
          <a:prstGeom prst="line">
            <a:avLst/>
          </a:prstGeom>
          <a:ln w="25400">
            <a:solidFill>
              <a:schemeClr val="bg1">
                <a:lumMod val="85000"/>
              </a:schemeClr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Равнобедренный треугольник 49">
            <a:extLst>
              <a:ext uri="{FF2B5EF4-FFF2-40B4-BE49-F238E27FC236}">
                <a16:creationId xmlns:a16="http://schemas.microsoft.com/office/drawing/2014/main" id="{DDEFADDE-DBEA-404C-A59B-0A00303F8F53}"/>
              </a:ext>
            </a:extLst>
          </p:cNvPr>
          <p:cNvSpPr/>
          <p:nvPr/>
        </p:nvSpPr>
        <p:spPr>
          <a:xfrm rot="5400000">
            <a:off x="4873369" y="5603547"/>
            <a:ext cx="1325880" cy="228600"/>
          </a:xfrm>
          <a:prstGeom prst="triangle">
            <a:avLst/>
          </a:prstGeom>
          <a:solidFill>
            <a:srgbClr val="DEEB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1" name="Прямоугольник 50">
            <a:extLst>
              <a:ext uri="{FF2B5EF4-FFF2-40B4-BE49-F238E27FC236}">
                <a16:creationId xmlns:a16="http://schemas.microsoft.com/office/drawing/2014/main" id="{588DB5FA-8206-431E-A864-1920B8BF41A7}"/>
              </a:ext>
            </a:extLst>
          </p:cNvPr>
          <p:cNvSpPr/>
          <p:nvPr/>
        </p:nvSpPr>
        <p:spPr>
          <a:xfrm>
            <a:off x="6401512" y="2406775"/>
            <a:ext cx="1749197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200" b="1" dirty="0" err="1">
                <a:solidFill>
                  <a:srgbClr val="0F6FC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ерзімі</a:t>
            </a:r>
            <a:r>
              <a:rPr lang="ru-RU" sz="1200" b="1" dirty="0">
                <a:solidFill>
                  <a:srgbClr val="0F6FC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: </a:t>
            </a:r>
            <a:r>
              <a:rPr lang="en-US" sz="1200" b="1" dirty="0">
                <a:solidFill>
                  <a:srgbClr val="0F6FC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021-2022</a:t>
            </a:r>
            <a:endParaRPr lang="ru-RU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52" name="Прямоугольник 51">
            <a:extLst>
              <a:ext uri="{FF2B5EF4-FFF2-40B4-BE49-F238E27FC236}">
                <a16:creationId xmlns:a16="http://schemas.microsoft.com/office/drawing/2014/main" id="{588DB5FA-8206-431E-A864-1920B8BF41A7}"/>
              </a:ext>
            </a:extLst>
          </p:cNvPr>
          <p:cNvSpPr/>
          <p:nvPr/>
        </p:nvSpPr>
        <p:spPr>
          <a:xfrm>
            <a:off x="6295145" y="4520903"/>
            <a:ext cx="1749197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200" b="1" dirty="0" err="1">
                <a:solidFill>
                  <a:srgbClr val="0F6FC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ерзімі</a:t>
            </a:r>
            <a:r>
              <a:rPr lang="ru-RU" sz="1200" b="1" dirty="0">
                <a:solidFill>
                  <a:srgbClr val="0F6FC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: </a:t>
            </a:r>
            <a:r>
              <a:rPr lang="en-US" sz="1200" b="1" dirty="0">
                <a:solidFill>
                  <a:srgbClr val="0F6FC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021-2022</a:t>
            </a:r>
            <a:endParaRPr lang="ru-RU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53" name="Прямоугольник 52">
            <a:extLst>
              <a:ext uri="{FF2B5EF4-FFF2-40B4-BE49-F238E27FC236}">
                <a16:creationId xmlns:a16="http://schemas.microsoft.com/office/drawing/2014/main" id="{588DB5FA-8206-431E-A864-1920B8BF41A7}"/>
              </a:ext>
            </a:extLst>
          </p:cNvPr>
          <p:cNvSpPr/>
          <p:nvPr/>
        </p:nvSpPr>
        <p:spPr>
          <a:xfrm>
            <a:off x="6258353" y="6748248"/>
            <a:ext cx="1749197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200" b="1" dirty="0" err="1">
                <a:solidFill>
                  <a:srgbClr val="0F6FC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ерзімі</a:t>
            </a:r>
            <a:r>
              <a:rPr lang="ru-RU" sz="1200" b="1" dirty="0">
                <a:solidFill>
                  <a:srgbClr val="0F6FC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:</a:t>
            </a:r>
            <a:r>
              <a:rPr lang="en-US" sz="1200" b="1" dirty="0">
                <a:solidFill>
                  <a:srgbClr val="0F6FC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2021-2022</a:t>
            </a:r>
            <a:endParaRPr lang="ru-RU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54" name="Прямоугольник 53">
            <a:extLst>
              <a:ext uri="{FF2B5EF4-FFF2-40B4-BE49-F238E27FC236}">
                <a16:creationId xmlns:a16="http://schemas.microsoft.com/office/drawing/2014/main" id="{2BA3BC63-DBFB-4CAB-A9E4-1935CFE533FF}"/>
              </a:ext>
            </a:extLst>
          </p:cNvPr>
          <p:cNvSpPr/>
          <p:nvPr/>
        </p:nvSpPr>
        <p:spPr>
          <a:xfrm>
            <a:off x="6357835" y="6165521"/>
            <a:ext cx="981359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200" b="1" dirty="0" err="1">
                <a:solidFill>
                  <a:srgbClr val="0F6FC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ауапты</a:t>
            </a:r>
            <a:r>
              <a:rPr lang="ru-RU" sz="1200" b="1" dirty="0">
                <a:solidFill>
                  <a:srgbClr val="0F6FC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:</a:t>
            </a:r>
            <a:endParaRPr lang="ru-RU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cxnSp>
        <p:nvCxnSpPr>
          <p:cNvPr id="55" name="Прямая соединительная линия 54">
            <a:extLst>
              <a:ext uri="{FF2B5EF4-FFF2-40B4-BE49-F238E27FC236}">
                <a16:creationId xmlns:a16="http://schemas.microsoft.com/office/drawing/2014/main" id="{E3AF6081-F616-4A92-A881-90BCE3E0856B}"/>
              </a:ext>
            </a:extLst>
          </p:cNvPr>
          <p:cNvCxnSpPr>
            <a:cxnSpLocks/>
          </p:cNvCxnSpPr>
          <p:nvPr/>
        </p:nvCxnSpPr>
        <p:spPr>
          <a:xfrm>
            <a:off x="133087" y="1068121"/>
            <a:ext cx="9616853" cy="0"/>
          </a:xfrm>
          <a:prstGeom prst="line">
            <a:avLst/>
          </a:prstGeom>
          <a:ln w="25400">
            <a:solidFill>
              <a:schemeClr val="bg1">
                <a:lumMod val="85000"/>
              </a:schemeClr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7934556" y="6995072"/>
            <a:ext cx="2429947" cy="402483"/>
          </a:xfrm>
        </p:spPr>
        <p:txBody>
          <a:bodyPr/>
          <a:lstStyle/>
          <a:p>
            <a:r>
              <a:rPr lang="ru-RU" dirty="0"/>
              <a:t>8</a:t>
            </a:r>
          </a:p>
        </p:txBody>
      </p:sp>
    </p:spTree>
    <p:extLst>
      <p:ext uri="{BB962C8B-B14F-4D97-AF65-F5344CB8AC3E}">
        <p14:creationId xmlns:p14="http://schemas.microsoft.com/office/powerpoint/2010/main" val="370404396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Box 22"/>
          <p:cNvSpPr txBox="1"/>
          <p:nvPr/>
        </p:nvSpPr>
        <p:spPr>
          <a:xfrm>
            <a:off x="523840" y="396578"/>
            <a:ext cx="991185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k-KZ" sz="2800" b="1" spc="-7" dirty="0">
                <a:latin typeface="Tahoma"/>
                <a:cs typeface="Tahoma"/>
              </a:rPr>
              <a:t>РЭДСО ТРАНСФОРМАЦИЯСЫ</a:t>
            </a:r>
            <a:endParaRPr lang="en-US" sz="2800" b="1" spc="-7" dirty="0">
              <a:latin typeface="Tahoma"/>
              <a:cs typeface="Tahoma"/>
            </a:endParaRPr>
          </a:p>
        </p:txBody>
      </p:sp>
      <p:sp>
        <p:nvSpPr>
          <p:cNvPr id="32" name="Прямоугольник 31">
            <a:extLst>
              <a:ext uri="{FF2B5EF4-FFF2-40B4-BE49-F238E27FC236}">
                <a16:creationId xmlns:a16="http://schemas.microsoft.com/office/drawing/2014/main" id="{9C8A5ED7-75C6-481B-95D7-E1C243E67B42}"/>
              </a:ext>
            </a:extLst>
          </p:cNvPr>
          <p:cNvSpPr/>
          <p:nvPr/>
        </p:nvSpPr>
        <p:spPr>
          <a:xfrm>
            <a:off x="318702" y="1111794"/>
            <a:ext cx="3012325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354"/>
              </a:spcAft>
            </a:pPr>
            <a:r>
              <a:rPr lang="ru-RU" sz="1600" b="1" dirty="0">
                <a:solidFill>
                  <a:srgbClr val="C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РОБЛЕМАЛЫҚ СҰРАҚ:</a:t>
            </a:r>
            <a:endParaRPr lang="ru-RU" sz="1600" dirty="0">
              <a:solidFill>
                <a:srgbClr val="C0000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3" name="Прямоугольник 42">
            <a:extLst>
              <a:ext uri="{FF2B5EF4-FFF2-40B4-BE49-F238E27FC236}">
                <a16:creationId xmlns:a16="http://schemas.microsoft.com/office/drawing/2014/main" id="{73D045E1-9C8F-4FE4-8E92-DF25D8FFDB88}"/>
              </a:ext>
            </a:extLst>
          </p:cNvPr>
          <p:cNvSpPr/>
          <p:nvPr/>
        </p:nvSpPr>
        <p:spPr>
          <a:xfrm>
            <a:off x="4063932" y="1111794"/>
            <a:ext cx="1210203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Aft>
                <a:spcPts val="354"/>
              </a:spcAft>
            </a:pPr>
            <a:r>
              <a:rPr lang="ru-RU" sz="1600" b="1" spc="-4" dirty="0">
                <a:solidFill>
                  <a:srgbClr val="7CCC6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ШЕШІМІ:</a:t>
            </a:r>
          </a:p>
        </p:txBody>
      </p:sp>
      <p:sp>
        <p:nvSpPr>
          <p:cNvPr id="44" name="Shape 5395">
            <a:extLst>
              <a:ext uri="{FF2B5EF4-FFF2-40B4-BE49-F238E27FC236}">
                <a16:creationId xmlns:a16="http://schemas.microsoft.com/office/drawing/2014/main" id="{09973C5F-5721-4D5E-BF38-F83566B9F61C}"/>
              </a:ext>
            </a:extLst>
          </p:cNvPr>
          <p:cNvSpPr/>
          <p:nvPr/>
        </p:nvSpPr>
        <p:spPr>
          <a:xfrm>
            <a:off x="4159750" y="1532979"/>
            <a:ext cx="233890" cy="23023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983" y="21600"/>
                </a:moveTo>
                <a:cubicBezTo>
                  <a:pt x="4759" y="21600"/>
                  <a:pt x="0" y="16759"/>
                  <a:pt x="0" y="10800"/>
                </a:cubicBezTo>
                <a:cubicBezTo>
                  <a:pt x="0" y="4841"/>
                  <a:pt x="4759" y="0"/>
                  <a:pt x="10983" y="0"/>
                </a:cubicBezTo>
                <a:cubicBezTo>
                  <a:pt x="16841" y="0"/>
                  <a:pt x="21600" y="4841"/>
                  <a:pt x="21600" y="10800"/>
                </a:cubicBezTo>
                <a:cubicBezTo>
                  <a:pt x="21600" y="16759"/>
                  <a:pt x="16841" y="21600"/>
                  <a:pt x="10983" y="21600"/>
                </a:cubicBezTo>
                <a:close/>
                <a:moveTo>
                  <a:pt x="17939" y="10055"/>
                </a:moveTo>
                <a:cubicBezTo>
                  <a:pt x="16475" y="8938"/>
                  <a:pt x="16475" y="8938"/>
                  <a:pt x="16475" y="8938"/>
                </a:cubicBezTo>
                <a:cubicBezTo>
                  <a:pt x="11349" y="3724"/>
                  <a:pt x="11349" y="3724"/>
                  <a:pt x="11349" y="3724"/>
                </a:cubicBezTo>
                <a:cubicBezTo>
                  <a:pt x="11349" y="3352"/>
                  <a:pt x="10983" y="3352"/>
                  <a:pt x="10983" y="3352"/>
                </a:cubicBezTo>
                <a:cubicBezTo>
                  <a:pt x="10617" y="3352"/>
                  <a:pt x="10251" y="3352"/>
                  <a:pt x="10251" y="3724"/>
                </a:cubicBezTo>
                <a:cubicBezTo>
                  <a:pt x="8786" y="4841"/>
                  <a:pt x="8786" y="4841"/>
                  <a:pt x="8786" y="4841"/>
                </a:cubicBezTo>
                <a:cubicBezTo>
                  <a:pt x="8786" y="5214"/>
                  <a:pt x="8786" y="5214"/>
                  <a:pt x="8786" y="5586"/>
                </a:cubicBezTo>
                <a:cubicBezTo>
                  <a:pt x="8786" y="5959"/>
                  <a:pt x="8786" y="5959"/>
                  <a:pt x="8786" y="6331"/>
                </a:cubicBezTo>
                <a:cubicBezTo>
                  <a:pt x="11715" y="8938"/>
                  <a:pt x="11715" y="8938"/>
                  <a:pt x="11715" y="8938"/>
                </a:cubicBezTo>
                <a:cubicBezTo>
                  <a:pt x="4759" y="8938"/>
                  <a:pt x="4759" y="8938"/>
                  <a:pt x="4759" y="8938"/>
                </a:cubicBezTo>
                <a:cubicBezTo>
                  <a:pt x="4027" y="8938"/>
                  <a:pt x="3661" y="9310"/>
                  <a:pt x="3661" y="9683"/>
                </a:cubicBezTo>
                <a:cubicBezTo>
                  <a:pt x="3661" y="11545"/>
                  <a:pt x="3661" y="11545"/>
                  <a:pt x="3661" y="11545"/>
                </a:cubicBezTo>
                <a:cubicBezTo>
                  <a:pt x="3661" y="11917"/>
                  <a:pt x="4027" y="12662"/>
                  <a:pt x="4759" y="12662"/>
                </a:cubicBezTo>
                <a:cubicBezTo>
                  <a:pt x="11715" y="12662"/>
                  <a:pt x="11715" y="12662"/>
                  <a:pt x="11715" y="12662"/>
                </a:cubicBezTo>
                <a:cubicBezTo>
                  <a:pt x="8786" y="15269"/>
                  <a:pt x="8786" y="15269"/>
                  <a:pt x="8786" y="15269"/>
                </a:cubicBezTo>
                <a:cubicBezTo>
                  <a:pt x="8786" y="15269"/>
                  <a:pt x="8786" y="15641"/>
                  <a:pt x="8786" y="15641"/>
                </a:cubicBezTo>
                <a:cubicBezTo>
                  <a:pt x="8786" y="16014"/>
                  <a:pt x="8786" y="16386"/>
                  <a:pt x="8786" y="16386"/>
                </a:cubicBezTo>
                <a:cubicBezTo>
                  <a:pt x="10251" y="17876"/>
                  <a:pt x="10251" y="17876"/>
                  <a:pt x="10251" y="17876"/>
                </a:cubicBezTo>
                <a:cubicBezTo>
                  <a:pt x="10251" y="17876"/>
                  <a:pt x="10617" y="17876"/>
                  <a:pt x="10983" y="17876"/>
                </a:cubicBezTo>
                <a:cubicBezTo>
                  <a:pt x="10983" y="17876"/>
                  <a:pt x="11349" y="17876"/>
                  <a:pt x="11349" y="17876"/>
                </a:cubicBezTo>
                <a:cubicBezTo>
                  <a:pt x="16475" y="12662"/>
                  <a:pt x="16475" y="12662"/>
                  <a:pt x="16475" y="12662"/>
                </a:cubicBezTo>
                <a:cubicBezTo>
                  <a:pt x="17939" y="11172"/>
                  <a:pt x="17939" y="11172"/>
                  <a:pt x="17939" y="11172"/>
                </a:cubicBezTo>
                <a:cubicBezTo>
                  <a:pt x="17939" y="11172"/>
                  <a:pt x="17939" y="10800"/>
                  <a:pt x="17939" y="10800"/>
                </a:cubicBezTo>
                <a:cubicBezTo>
                  <a:pt x="17939" y="10428"/>
                  <a:pt x="17939" y="10055"/>
                  <a:pt x="17939" y="10055"/>
                </a:cubicBezTo>
                <a:close/>
              </a:path>
            </a:pathLst>
          </a:custGeom>
          <a:solidFill>
            <a:srgbClr val="7CCC62"/>
          </a:solidFill>
          <a:ln w="12700" cap="flat">
            <a:noFill/>
            <a:miter lim="400000"/>
          </a:ln>
          <a:effectLst/>
        </p:spPr>
        <p:txBody>
          <a:bodyPr wrap="square" lIns="20244" tIns="20244" rIns="20244" bIns="20244" numCol="1" anchor="t">
            <a:noAutofit/>
          </a:bodyPr>
          <a:lstStyle/>
          <a:p>
            <a:pPr defTabSz="202408">
              <a:defRPr sz="24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pPr>
            <a:endParaRPr sz="1063"/>
          </a:p>
        </p:txBody>
      </p:sp>
      <p:cxnSp>
        <p:nvCxnSpPr>
          <p:cNvPr id="69" name="Прямая соединительная линия 68">
            <a:extLst>
              <a:ext uri="{FF2B5EF4-FFF2-40B4-BE49-F238E27FC236}">
                <a16:creationId xmlns:a16="http://schemas.microsoft.com/office/drawing/2014/main" id="{F8DF760E-BD90-4AD4-9ECC-B5BC295273B8}"/>
              </a:ext>
            </a:extLst>
          </p:cNvPr>
          <p:cNvCxnSpPr>
            <a:cxnSpLocks/>
          </p:cNvCxnSpPr>
          <p:nvPr/>
        </p:nvCxnSpPr>
        <p:spPr>
          <a:xfrm>
            <a:off x="392335" y="1098787"/>
            <a:ext cx="10050283" cy="0"/>
          </a:xfrm>
          <a:prstGeom prst="line">
            <a:avLst/>
          </a:prstGeom>
          <a:ln w="25400">
            <a:solidFill>
              <a:schemeClr val="bg1">
                <a:lumMod val="85000"/>
              </a:schemeClr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" name="Rounded Rectangle 46">
            <a:extLst>
              <a:ext uri="{FF2B5EF4-FFF2-40B4-BE49-F238E27FC236}">
                <a16:creationId xmlns:a16="http://schemas.microsoft.com/office/drawing/2014/main" id="{6397A961-6131-42DD-82BE-5AFE06CB9496}"/>
              </a:ext>
            </a:extLst>
          </p:cNvPr>
          <p:cNvSpPr/>
          <p:nvPr/>
        </p:nvSpPr>
        <p:spPr>
          <a:xfrm rot="13500000">
            <a:off x="433645" y="1618136"/>
            <a:ext cx="176840" cy="175071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75" name="Shape 5416">
            <a:extLst>
              <a:ext uri="{FF2B5EF4-FFF2-40B4-BE49-F238E27FC236}">
                <a16:creationId xmlns:a16="http://schemas.microsoft.com/office/drawing/2014/main" id="{9D704BBC-45E2-4DE0-9D52-084852E8A50F}"/>
              </a:ext>
            </a:extLst>
          </p:cNvPr>
          <p:cNvSpPr/>
          <p:nvPr/>
        </p:nvSpPr>
        <p:spPr>
          <a:xfrm>
            <a:off x="473190" y="1659257"/>
            <a:ext cx="97749" cy="9675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120" y="18240"/>
                </a:moveTo>
                <a:cubicBezTo>
                  <a:pt x="18240" y="21120"/>
                  <a:pt x="18240" y="21120"/>
                  <a:pt x="18240" y="21120"/>
                </a:cubicBezTo>
                <a:cubicBezTo>
                  <a:pt x="18240" y="21120"/>
                  <a:pt x="17760" y="21600"/>
                  <a:pt x="17280" y="21600"/>
                </a:cubicBezTo>
                <a:cubicBezTo>
                  <a:pt x="16800" y="21600"/>
                  <a:pt x="16320" y="21120"/>
                  <a:pt x="15840" y="21120"/>
                </a:cubicBezTo>
                <a:cubicBezTo>
                  <a:pt x="10560" y="15360"/>
                  <a:pt x="10560" y="15360"/>
                  <a:pt x="10560" y="15360"/>
                </a:cubicBezTo>
                <a:cubicBezTo>
                  <a:pt x="5280" y="21120"/>
                  <a:pt x="5280" y="21120"/>
                  <a:pt x="5280" y="21120"/>
                </a:cubicBezTo>
                <a:cubicBezTo>
                  <a:pt x="4800" y="21120"/>
                  <a:pt x="4320" y="21600"/>
                  <a:pt x="3840" y="21600"/>
                </a:cubicBezTo>
                <a:cubicBezTo>
                  <a:pt x="3360" y="21600"/>
                  <a:pt x="3360" y="21120"/>
                  <a:pt x="2880" y="21120"/>
                </a:cubicBezTo>
                <a:cubicBezTo>
                  <a:pt x="480" y="18240"/>
                  <a:pt x="480" y="18240"/>
                  <a:pt x="480" y="18240"/>
                </a:cubicBezTo>
                <a:cubicBezTo>
                  <a:pt x="0" y="18240"/>
                  <a:pt x="0" y="17760"/>
                  <a:pt x="0" y="17280"/>
                </a:cubicBezTo>
                <a:cubicBezTo>
                  <a:pt x="0" y="16800"/>
                  <a:pt x="0" y="16320"/>
                  <a:pt x="480" y="15840"/>
                </a:cubicBezTo>
                <a:cubicBezTo>
                  <a:pt x="5760" y="10560"/>
                  <a:pt x="5760" y="10560"/>
                  <a:pt x="5760" y="10560"/>
                </a:cubicBezTo>
                <a:cubicBezTo>
                  <a:pt x="480" y="5280"/>
                  <a:pt x="480" y="5280"/>
                  <a:pt x="480" y="5280"/>
                </a:cubicBezTo>
                <a:cubicBezTo>
                  <a:pt x="0" y="4800"/>
                  <a:pt x="0" y="4320"/>
                  <a:pt x="0" y="3840"/>
                </a:cubicBezTo>
                <a:cubicBezTo>
                  <a:pt x="0" y="3360"/>
                  <a:pt x="0" y="2880"/>
                  <a:pt x="480" y="2880"/>
                </a:cubicBezTo>
                <a:cubicBezTo>
                  <a:pt x="2880" y="480"/>
                  <a:pt x="2880" y="480"/>
                  <a:pt x="2880" y="480"/>
                </a:cubicBezTo>
                <a:cubicBezTo>
                  <a:pt x="3360" y="0"/>
                  <a:pt x="3360" y="0"/>
                  <a:pt x="3840" y="0"/>
                </a:cubicBezTo>
                <a:cubicBezTo>
                  <a:pt x="4320" y="0"/>
                  <a:pt x="4800" y="0"/>
                  <a:pt x="5280" y="480"/>
                </a:cubicBezTo>
                <a:cubicBezTo>
                  <a:pt x="10560" y="5760"/>
                  <a:pt x="10560" y="5760"/>
                  <a:pt x="10560" y="5760"/>
                </a:cubicBezTo>
                <a:cubicBezTo>
                  <a:pt x="15840" y="480"/>
                  <a:pt x="15840" y="480"/>
                  <a:pt x="15840" y="480"/>
                </a:cubicBezTo>
                <a:cubicBezTo>
                  <a:pt x="16320" y="0"/>
                  <a:pt x="16800" y="0"/>
                  <a:pt x="17280" y="0"/>
                </a:cubicBezTo>
                <a:cubicBezTo>
                  <a:pt x="17760" y="0"/>
                  <a:pt x="18240" y="0"/>
                  <a:pt x="18240" y="480"/>
                </a:cubicBezTo>
                <a:cubicBezTo>
                  <a:pt x="21120" y="2880"/>
                  <a:pt x="21120" y="2880"/>
                  <a:pt x="21120" y="2880"/>
                </a:cubicBezTo>
                <a:cubicBezTo>
                  <a:pt x="21120" y="2880"/>
                  <a:pt x="21600" y="3360"/>
                  <a:pt x="21600" y="3840"/>
                </a:cubicBezTo>
                <a:cubicBezTo>
                  <a:pt x="21600" y="4320"/>
                  <a:pt x="21120" y="4800"/>
                  <a:pt x="21120" y="5280"/>
                </a:cubicBezTo>
                <a:cubicBezTo>
                  <a:pt x="15360" y="10560"/>
                  <a:pt x="15360" y="10560"/>
                  <a:pt x="15360" y="10560"/>
                </a:cubicBezTo>
                <a:cubicBezTo>
                  <a:pt x="21120" y="15840"/>
                  <a:pt x="21120" y="15840"/>
                  <a:pt x="21120" y="15840"/>
                </a:cubicBezTo>
                <a:cubicBezTo>
                  <a:pt x="21120" y="16320"/>
                  <a:pt x="21600" y="16800"/>
                  <a:pt x="21600" y="17280"/>
                </a:cubicBezTo>
                <a:cubicBezTo>
                  <a:pt x="21600" y="17760"/>
                  <a:pt x="21120" y="18240"/>
                  <a:pt x="21120" y="18240"/>
                </a:cubicBezTo>
                <a:close/>
              </a:path>
            </a:pathLst>
          </a:custGeom>
          <a:solidFill>
            <a:schemeClr val="bg1"/>
          </a:solidFill>
          <a:ln w="12700" cap="flat">
            <a:noFill/>
            <a:miter lim="400000"/>
          </a:ln>
          <a:effectLst/>
        </p:spPr>
        <p:txBody>
          <a:bodyPr wrap="square" lIns="45713" tIns="45713" rIns="45713" bIns="45713" numCol="1" anchor="t">
            <a:noAutofit/>
          </a:bodyPr>
          <a:lstStyle/>
          <a:p>
            <a:pPr defTabSz="457109">
              <a:defRPr sz="24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pPr>
            <a:endParaRPr sz="2400"/>
          </a:p>
        </p:txBody>
      </p:sp>
      <p:sp>
        <p:nvSpPr>
          <p:cNvPr id="77" name="Rounded Rectangle 46">
            <a:extLst>
              <a:ext uri="{FF2B5EF4-FFF2-40B4-BE49-F238E27FC236}">
                <a16:creationId xmlns:a16="http://schemas.microsoft.com/office/drawing/2014/main" id="{4D68C3CE-81FB-45CD-963B-D3072A18134A}"/>
              </a:ext>
            </a:extLst>
          </p:cNvPr>
          <p:cNvSpPr/>
          <p:nvPr/>
        </p:nvSpPr>
        <p:spPr>
          <a:xfrm rot="13500000">
            <a:off x="431287" y="4118652"/>
            <a:ext cx="176840" cy="175071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78" name="Shape 5416">
            <a:extLst>
              <a:ext uri="{FF2B5EF4-FFF2-40B4-BE49-F238E27FC236}">
                <a16:creationId xmlns:a16="http://schemas.microsoft.com/office/drawing/2014/main" id="{EA81A506-9FAB-4AD1-971C-4B7D259566FF}"/>
              </a:ext>
            </a:extLst>
          </p:cNvPr>
          <p:cNvSpPr/>
          <p:nvPr/>
        </p:nvSpPr>
        <p:spPr>
          <a:xfrm>
            <a:off x="472436" y="4164880"/>
            <a:ext cx="97749" cy="9675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120" y="18240"/>
                </a:moveTo>
                <a:cubicBezTo>
                  <a:pt x="18240" y="21120"/>
                  <a:pt x="18240" y="21120"/>
                  <a:pt x="18240" y="21120"/>
                </a:cubicBezTo>
                <a:cubicBezTo>
                  <a:pt x="18240" y="21120"/>
                  <a:pt x="17760" y="21600"/>
                  <a:pt x="17280" y="21600"/>
                </a:cubicBezTo>
                <a:cubicBezTo>
                  <a:pt x="16800" y="21600"/>
                  <a:pt x="16320" y="21120"/>
                  <a:pt x="15840" y="21120"/>
                </a:cubicBezTo>
                <a:cubicBezTo>
                  <a:pt x="10560" y="15360"/>
                  <a:pt x="10560" y="15360"/>
                  <a:pt x="10560" y="15360"/>
                </a:cubicBezTo>
                <a:cubicBezTo>
                  <a:pt x="5280" y="21120"/>
                  <a:pt x="5280" y="21120"/>
                  <a:pt x="5280" y="21120"/>
                </a:cubicBezTo>
                <a:cubicBezTo>
                  <a:pt x="4800" y="21120"/>
                  <a:pt x="4320" y="21600"/>
                  <a:pt x="3840" y="21600"/>
                </a:cubicBezTo>
                <a:cubicBezTo>
                  <a:pt x="3360" y="21600"/>
                  <a:pt x="3360" y="21120"/>
                  <a:pt x="2880" y="21120"/>
                </a:cubicBezTo>
                <a:cubicBezTo>
                  <a:pt x="480" y="18240"/>
                  <a:pt x="480" y="18240"/>
                  <a:pt x="480" y="18240"/>
                </a:cubicBezTo>
                <a:cubicBezTo>
                  <a:pt x="0" y="18240"/>
                  <a:pt x="0" y="17760"/>
                  <a:pt x="0" y="17280"/>
                </a:cubicBezTo>
                <a:cubicBezTo>
                  <a:pt x="0" y="16800"/>
                  <a:pt x="0" y="16320"/>
                  <a:pt x="480" y="15840"/>
                </a:cubicBezTo>
                <a:cubicBezTo>
                  <a:pt x="5760" y="10560"/>
                  <a:pt x="5760" y="10560"/>
                  <a:pt x="5760" y="10560"/>
                </a:cubicBezTo>
                <a:cubicBezTo>
                  <a:pt x="480" y="5280"/>
                  <a:pt x="480" y="5280"/>
                  <a:pt x="480" y="5280"/>
                </a:cubicBezTo>
                <a:cubicBezTo>
                  <a:pt x="0" y="4800"/>
                  <a:pt x="0" y="4320"/>
                  <a:pt x="0" y="3840"/>
                </a:cubicBezTo>
                <a:cubicBezTo>
                  <a:pt x="0" y="3360"/>
                  <a:pt x="0" y="2880"/>
                  <a:pt x="480" y="2880"/>
                </a:cubicBezTo>
                <a:cubicBezTo>
                  <a:pt x="2880" y="480"/>
                  <a:pt x="2880" y="480"/>
                  <a:pt x="2880" y="480"/>
                </a:cubicBezTo>
                <a:cubicBezTo>
                  <a:pt x="3360" y="0"/>
                  <a:pt x="3360" y="0"/>
                  <a:pt x="3840" y="0"/>
                </a:cubicBezTo>
                <a:cubicBezTo>
                  <a:pt x="4320" y="0"/>
                  <a:pt x="4800" y="0"/>
                  <a:pt x="5280" y="480"/>
                </a:cubicBezTo>
                <a:cubicBezTo>
                  <a:pt x="10560" y="5760"/>
                  <a:pt x="10560" y="5760"/>
                  <a:pt x="10560" y="5760"/>
                </a:cubicBezTo>
                <a:cubicBezTo>
                  <a:pt x="15840" y="480"/>
                  <a:pt x="15840" y="480"/>
                  <a:pt x="15840" y="480"/>
                </a:cubicBezTo>
                <a:cubicBezTo>
                  <a:pt x="16320" y="0"/>
                  <a:pt x="16800" y="0"/>
                  <a:pt x="17280" y="0"/>
                </a:cubicBezTo>
                <a:cubicBezTo>
                  <a:pt x="17760" y="0"/>
                  <a:pt x="18240" y="0"/>
                  <a:pt x="18240" y="480"/>
                </a:cubicBezTo>
                <a:cubicBezTo>
                  <a:pt x="21120" y="2880"/>
                  <a:pt x="21120" y="2880"/>
                  <a:pt x="21120" y="2880"/>
                </a:cubicBezTo>
                <a:cubicBezTo>
                  <a:pt x="21120" y="2880"/>
                  <a:pt x="21600" y="3360"/>
                  <a:pt x="21600" y="3840"/>
                </a:cubicBezTo>
                <a:cubicBezTo>
                  <a:pt x="21600" y="4320"/>
                  <a:pt x="21120" y="4800"/>
                  <a:pt x="21120" y="5280"/>
                </a:cubicBezTo>
                <a:cubicBezTo>
                  <a:pt x="15360" y="10560"/>
                  <a:pt x="15360" y="10560"/>
                  <a:pt x="15360" y="10560"/>
                </a:cubicBezTo>
                <a:cubicBezTo>
                  <a:pt x="21120" y="15840"/>
                  <a:pt x="21120" y="15840"/>
                  <a:pt x="21120" y="15840"/>
                </a:cubicBezTo>
                <a:cubicBezTo>
                  <a:pt x="21120" y="16320"/>
                  <a:pt x="21600" y="16800"/>
                  <a:pt x="21600" y="17280"/>
                </a:cubicBezTo>
                <a:cubicBezTo>
                  <a:pt x="21600" y="17760"/>
                  <a:pt x="21120" y="18240"/>
                  <a:pt x="21120" y="18240"/>
                </a:cubicBezTo>
                <a:close/>
              </a:path>
            </a:pathLst>
          </a:custGeom>
          <a:solidFill>
            <a:schemeClr val="bg1"/>
          </a:solidFill>
          <a:ln w="12700" cap="flat">
            <a:noFill/>
            <a:miter lim="400000"/>
          </a:ln>
          <a:effectLst/>
        </p:spPr>
        <p:txBody>
          <a:bodyPr wrap="square" lIns="45713" tIns="45713" rIns="45713" bIns="45713" numCol="1" anchor="t">
            <a:noAutofit/>
          </a:bodyPr>
          <a:lstStyle/>
          <a:p>
            <a:pPr defTabSz="457109">
              <a:defRPr sz="24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pPr>
            <a:endParaRPr sz="2400"/>
          </a:p>
        </p:txBody>
      </p:sp>
      <p:grpSp>
        <p:nvGrpSpPr>
          <p:cNvPr id="5" name="Группа 4">
            <a:extLst>
              <a:ext uri="{FF2B5EF4-FFF2-40B4-BE49-F238E27FC236}">
                <a16:creationId xmlns:a16="http://schemas.microsoft.com/office/drawing/2014/main" id="{0F0E7639-207F-4F0E-BD47-6B5D6AD5EACE}"/>
              </a:ext>
            </a:extLst>
          </p:cNvPr>
          <p:cNvGrpSpPr/>
          <p:nvPr/>
        </p:nvGrpSpPr>
        <p:grpSpPr>
          <a:xfrm>
            <a:off x="395288" y="3838007"/>
            <a:ext cx="3252787" cy="1380347"/>
            <a:chOff x="395288" y="3838007"/>
            <a:chExt cx="9998392" cy="1380347"/>
          </a:xfrm>
        </p:grpSpPr>
        <p:cxnSp>
          <p:nvCxnSpPr>
            <p:cNvPr id="85" name="Прямая соединительная линия 84">
              <a:extLst>
                <a:ext uri="{FF2B5EF4-FFF2-40B4-BE49-F238E27FC236}">
                  <a16:creationId xmlns:a16="http://schemas.microsoft.com/office/drawing/2014/main" id="{D861743A-ACA1-4AE6-8748-4F809F13950F}"/>
                </a:ext>
              </a:extLst>
            </p:cNvPr>
            <p:cNvCxnSpPr>
              <a:cxnSpLocks/>
            </p:cNvCxnSpPr>
            <p:nvPr/>
          </p:nvCxnSpPr>
          <p:spPr>
            <a:xfrm>
              <a:off x="443908" y="5218354"/>
              <a:ext cx="9949772" cy="0"/>
            </a:xfrm>
            <a:prstGeom prst="line">
              <a:avLst/>
            </a:prstGeom>
            <a:ln w="25400">
              <a:solidFill>
                <a:schemeClr val="bg1">
                  <a:lumMod val="95000"/>
                </a:schemeClr>
              </a:solidFill>
              <a:headEnd type="oval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9" name="Прямая соединительная линия 88">
              <a:extLst>
                <a:ext uri="{FF2B5EF4-FFF2-40B4-BE49-F238E27FC236}">
                  <a16:creationId xmlns:a16="http://schemas.microsoft.com/office/drawing/2014/main" id="{7BC59544-5CE3-45E3-B00D-890A1935A809}"/>
                </a:ext>
              </a:extLst>
            </p:cNvPr>
            <p:cNvCxnSpPr>
              <a:cxnSpLocks/>
            </p:cNvCxnSpPr>
            <p:nvPr/>
          </p:nvCxnSpPr>
          <p:spPr>
            <a:xfrm>
              <a:off x="395288" y="3838007"/>
              <a:ext cx="9948822" cy="11057"/>
            </a:xfrm>
            <a:prstGeom prst="line">
              <a:avLst/>
            </a:prstGeom>
            <a:ln w="25400">
              <a:solidFill>
                <a:schemeClr val="bg1">
                  <a:lumMod val="95000"/>
                </a:schemeClr>
              </a:solidFill>
              <a:headEnd type="oval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6" name="Прямоугольник 55">
            <a:extLst>
              <a:ext uri="{FF2B5EF4-FFF2-40B4-BE49-F238E27FC236}">
                <a16:creationId xmlns:a16="http://schemas.microsoft.com/office/drawing/2014/main" id="{D9240677-8AEA-4A79-8351-018C6FA9AD8A}"/>
              </a:ext>
            </a:extLst>
          </p:cNvPr>
          <p:cNvSpPr/>
          <p:nvPr/>
        </p:nvSpPr>
        <p:spPr>
          <a:xfrm>
            <a:off x="4482530" y="1414403"/>
            <a:ext cx="5661596" cy="4991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1200"/>
              </a:lnSpc>
              <a:spcAft>
                <a:spcPts val="200"/>
              </a:spcAft>
            </a:pPr>
            <a:r>
              <a:rPr lang="kk-KZ" sz="1100" b="1" dirty="0">
                <a:latin typeface="Tahoma" pitchFamily="34" charset="0"/>
                <a:ea typeface="Tahoma" pitchFamily="34" charset="0"/>
                <a:cs typeface="Tahoma" pitchFamily="34" charset="0"/>
              </a:rPr>
              <a:t>РЭДСО-ға Денсаулық сақтау саласындағы цифрландыру жөніндегі ұлттық сервистік интегратор мәртебесін беру</a:t>
            </a:r>
          </a:p>
          <a:p>
            <a:pPr>
              <a:lnSpc>
                <a:spcPts val="1200"/>
              </a:lnSpc>
              <a:spcAft>
                <a:spcPts val="200"/>
              </a:spcAft>
            </a:pPr>
            <a:r>
              <a:rPr lang="kk-KZ" sz="1100" dirty="0">
                <a:latin typeface="Tahoma" pitchFamily="34" charset="0"/>
                <a:ea typeface="Tahoma" pitchFamily="34" charset="0"/>
                <a:cs typeface="Tahoma" pitchFamily="34" charset="0"/>
              </a:rPr>
              <a:t>Қажетті шаралар:</a:t>
            </a:r>
          </a:p>
          <a:p>
            <a:pPr marL="228600" indent="-228600">
              <a:lnSpc>
                <a:spcPts val="1200"/>
              </a:lnSpc>
              <a:spcAft>
                <a:spcPts val="200"/>
              </a:spcAft>
              <a:buFontTx/>
              <a:buAutoNum type="arabicPeriod"/>
            </a:pPr>
            <a:r>
              <a:rPr lang="kk-KZ" sz="1100" dirty="0">
                <a:latin typeface="Tahoma" pitchFamily="34" charset="0"/>
                <a:ea typeface="Tahoma" pitchFamily="34" charset="0"/>
                <a:cs typeface="Tahoma" pitchFamily="34" charset="0"/>
              </a:rPr>
              <a:t>Монополияға қарсы органнан келісім алу</a:t>
            </a:r>
            <a:endParaRPr lang="ru-RU" sz="1100" spc="-4" dirty="0">
              <a:solidFill>
                <a:schemeClr val="tx1">
                  <a:lumMod val="95000"/>
                  <a:lumOff val="5000"/>
                </a:schemeClr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marL="228600" indent="-228600">
              <a:lnSpc>
                <a:spcPts val="1200"/>
              </a:lnSpc>
              <a:spcAft>
                <a:spcPts val="200"/>
              </a:spcAft>
              <a:buAutoNum type="arabicPeriod"/>
            </a:pPr>
            <a:r>
              <a:rPr lang="kk-KZ" sz="1100" dirty="0">
                <a:latin typeface="Tahoma" pitchFamily="34" charset="0"/>
                <a:ea typeface="Tahoma" pitchFamily="34" charset="0"/>
                <a:cs typeface="Tahoma" pitchFamily="34" charset="0"/>
              </a:rPr>
              <a:t>«Халық денсаулығы және денсаулық сақтау жүйесі туралы» Қазақстан Республикасының Кодексіне өзгерістер енгізу туралы» заң жобасын әзірлеу және келісу, заң шығару жұмысының жоспарына енгізу</a:t>
            </a:r>
          </a:p>
          <a:p>
            <a:pPr marL="228600" indent="-228600">
              <a:lnSpc>
                <a:spcPts val="1200"/>
              </a:lnSpc>
              <a:spcAft>
                <a:spcPts val="200"/>
              </a:spcAft>
              <a:buAutoNum type="arabicPeriod"/>
            </a:pPr>
            <a:r>
              <a:rPr lang="kk-KZ" sz="1100" dirty="0">
                <a:latin typeface="Tahoma" pitchFamily="34" charset="0"/>
                <a:ea typeface="Tahoma" pitchFamily="34" charset="0"/>
                <a:cs typeface="Tahoma" pitchFamily="34" charset="0"/>
              </a:rPr>
              <a:t>Заң жобасын мүдделі азаматтық қоғам ұйымдарымен, Қазақстан Республикасы Президентінің Әкімшілігімен, Мәжілісі пен Сенатімен келісу және мақұлдау</a:t>
            </a:r>
            <a:endParaRPr lang="ru-RU" sz="1100" dirty="0"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marL="228600" indent="-228600">
              <a:lnSpc>
                <a:spcPts val="1200"/>
              </a:lnSpc>
              <a:spcAft>
                <a:spcPts val="200"/>
              </a:spcAft>
              <a:buFontTx/>
              <a:buAutoNum type="arabicPeriod"/>
            </a:pPr>
            <a:r>
              <a:rPr lang="kk-KZ" sz="1100" dirty="0">
                <a:latin typeface="Tahoma" pitchFamily="34" charset="0"/>
                <a:ea typeface="Tahoma" pitchFamily="34" charset="0"/>
                <a:cs typeface="Tahoma" pitchFamily="34" charset="0"/>
              </a:rPr>
              <a:t>«Денсаулық сақтау саласындағы цифрландырудың операторын/интеграторын анықтау туралы» Қазақстан Республикасы Үкіметінің қаулысының жобасын мүдделі мемлекеттік органдармен келісу</a:t>
            </a:r>
          </a:p>
          <a:p>
            <a:pPr marL="228600" indent="-228600">
              <a:lnSpc>
                <a:spcPts val="1200"/>
              </a:lnSpc>
              <a:spcAft>
                <a:spcPts val="200"/>
              </a:spcAft>
              <a:buFontTx/>
              <a:buAutoNum type="arabicPeriod"/>
            </a:pPr>
            <a:r>
              <a:rPr lang="ru-RU" sz="1100" dirty="0"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kk-KZ" sz="1100" dirty="0">
                <a:latin typeface="Tahoma" pitchFamily="34" charset="0"/>
                <a:ea typeface="Tahoma" pitchFamily="34" charset="0"/>
                <a:cs typeface="Tahoma" pitchFamily="34" charset="0"/>
              </a:rPr>
              <a:t>РЭДСО-ға денсаулық сақтау саласындағы цифрландыру жөніндегі ұлттық сервистік интегратор мәртебесін беру</a:t>
            </a:r>
            <a:endParaRPr lang="ru-RU" sz="1100" dirty="0"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>
              <a:lnSpc>
                <a:spcPts val="1200"/>
              </a:lnSpc>
              <a:spcAft>
                <a:spcPts val="200"/>
              </a:spcAft>
            </a:pPr>
            <a:endParaRPr lang="kk-KZ" sz="1100" b="1" dirty="0"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>
              <a:lnSpc>
                <a:spcPts val="1200"/>
              </a:lnSpc>
              <a:spcAft>
                <a:spcPts val="200"/>
              </a:spcAft>
            </a:pPr>
            <a:r>
              <a:rPr lang="kk-KZ" sz="1100" b="1" dirty="0">
                <a:latin typeface="Tahoma" pitchFamily="34" charset="0"/>
                <a:ea typeface="Tahoma" pitchFamily="34" charset="0"/>
                <a:cs typeface="Tahoma" pitchFamily="34" charset="0"/>
              </a:rPr>
              <a:t>РЭДСО «Электрондық денсаулық сақтау орталығы» АҚ-ға қайта құру</a:t>
            </a:r>
            <a:endParaRPr lang="ru-RU" sz="1100" b="1" spc="-4" dirty="0">
              <a:solidFill>
                <a:schemeClr val="tx1">
                  <a:lumMod val="95000"/>
                  <a:lumOff val="5000"/>
                </a:schemeClr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>
              <a:lnSpc>
                <a:spcPts val="1200"/>
              </a:lnSpc>
              <a:spcAft>
                <a:spcPts val="200"/>
              </a:spcAft>
            </a:pPr>
            <a:r>
              <a:rPr lang="kk-KZ" sz="1100" dirty="0">
                <a:latin typeface="Tahoma" pitchFamily="34" charset="0"/>
                <a:ea typeface="Tahoma" pitchFamily="34" charset="0"/>
                <a:cs typeface="Tahoma" pitchFamily="34" charset="0"/>
              </a:rPr>
              <a:t>Қажетті шаралар:</a:t>
            </a:r>
          </a:p>
          <a:p>
            <a:pPr marL="228600" indent="-228600">
              <a:lnSpc>
                <a:spcPts val="1200"/>
              </a:lnSpc>
              <a:spcAft>
                <a:spcPts val="200"/>
              </a:spcAft>
              <a:buAutoNum type="arabicPeriod"/>
            </a:pPr>
            <a:r>
              <a:rPr lang="kk-KZ" sz="1100" dirty="0">
                <a:latin typeface="Tahoma" pitchFamily="34" charset="0"/>
                <a:ea typeface="Tahoma" pitchFamily="34" charset="0"/>
                <a:cs typeface="Tahoma" pitchFamily="34" charset="0"/>
              </a:rPr>
              <a:t>«РЭДСО қайта ұйымдастыру туралы» Қазақстан Республикасы Үкіметі қаулысының жобасын әзірлеу, келісу және Үкіметтің қарауына енгізу</a:t>
            </a:r>
          </a:p>
          <a:p>
            <a:pPr marL="228600" indent="-228600">
              <a:lnSpc>
                <a:spcPts val="1200"/>
              </a:lnSpc>
              <a:spcAft>
                <a:spcPts val="200"/>
              </a:spcAft>
              <a:buAutoNum type="arabicPeriod"/>
            </a:pPr>
            <a:r>
              <a:rPr lang="kk-KZ" sz="1100" dirty="0">
                <a:latin typeface="Tahoma" pitchFamily="34" charset="0"/>
                <a:ea typeface="Tahoma" pitchFamily="34" charset="0"/>
                <a:cs typeface="Tahoma" pitchFamily="34" charset="0"/>
              </a:rPr>
              <a:t>Салық органын хабарландыру, газетке жариялануы, несие берушілерге «РЭДСО РМК қайта ұйымдастыру туралы» хабарлау</a:t>
            </a:r>
          </a:p>
          <a:p>
            <a:pPr>
              <a:lnSpc>
                <a:spcPts val="1200"/>
              </a:lnSpc>
              <a:spcAft>
                <a:spcPts val="200"/>
              </a:spcAft>
            </a:pPr>
            <a:endParaRPr lang="ru-RU" sz="1100" b="1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>
              <a:lnSpc>
                <a:spcPts val="1200"/>
              </a:lnSpc>
              <a:spcAft>
                <a:spcPts val="200"/>
              </a:spcAft>
            </a:pPr>
            <a:r>
              <a:rPr lang="kk-KZ" sz="1100" b="1" dirty="0">
                <a:latin typeface="Tahoma" pitchFamily="34" charset="0"/>
                <a:ea typeface="Tahoma" pitchFamily="34" charset="0"/>
                <a:cs typeface="Tahoma" pitchFamily="34" charset="0"/>
              </a:rPr>
              <a:t>Қызмет түрін кеңейту </a:t>
            </a:r>
            <a:r>
              <a:rPr lang="kk-KZ" sz="1100" dirty="0">
                <a:latin typeface="Tahoma" pitchFamily="34" charset="0"/>
                <a:ea typeface="Tahoma" pitchFamily="34" charset="0"/>
                <a:cs typeface="Tahoma" pitchFamily="34" charset="0"/>
              </a:rPr>
              <a:t>және қызмет түрінің Жарғысына енгізу: «Денсаулық сақтау саласындағы АЖ әзірлемесі және дамыту»</a:t>
            </a:r>
          </a:p>
          <a:p>
            <a:pPr>
              <a:lnSpc>
                <a:spcPts val="1200"/>
              </a:lnSpc>
              <a:spcAft>
                <a:spcPts val="200"/>
              </a:spcAft>
            </a:pPr>
            <a:r>
              <a:rPr lang="kk-KZ" sz="1100" dirty="0">
                <a:latin typeface="Tahoma" pitchFamily="34" charset="0"/>
                <a:ea typeface="Tahoma" pitchFamily="34" charset="0"/>
                <a:cs typeface="Tahoma" pitchFamily="34" charset="0"/>
              </a:rPr>
              <a:t>Қажетті шаралар:</a:t>
            </a:r>
          </a:p>
          <a:p>
            <a:pPr marL="228600" indent="-228600">
              <a:lnSpc>
                <a:spcPts val="1200"/>
              </a:lnSpc>
              <a:spcAft>
                <a:spcPts val="200"/>
              </a:spcAft>
              <a:buAutoNum type="arabicPeriod"/>
            </a:pPr>
            <a:r>
              <a:rPr lang="kk-KZ" sz="1100" dirty="0">
                <a:latin typeface="Tahoma" pitchFamily="34" charset="0"/>
                <a:ea typeface="Tahoma" pitchFamily="34" charset="0"/>
                <a:cs typeface="Tahoma" pitchFamily="34" charset="0"/>
              </a:rPr>
              <a:t>Монополияға қарсы органнан келісім алу </a:t>
            </a:r>
          </a:p>
          <a:p>
            <a:pPr marL="228600" indent="-228600">
              <a:lnSpc>
                <a:spcPts val="1200"/>
              </a:lnSpc>
              <a:spcAft>
                <a:spcPts val="200"/>
              </a:spcAft>
              <a:buAutoNum type="arabicPeriod"/>
            </a:pPr>
            <a:r>
              <a:rPr lang="kk-KZ" sz="1100" dirty="0">
                <a:latin typeface="Tahoma" pitchFamily="34" charset="0"/>
                <a:ea typeface="Tahoma" pitchFamily="34" charset="0"/>
                <a:cs typeface="Tahoma" pitchFamily="34" charset="0"/>
              </a:rPr>
              <a:t>Жарғыға өзгерістер енгізу жобаларын әзірлеу, келісу және мақұлдау</a:t>
            </a:r>
          </a:p>
          <a:p>
            <a:pPr marL="228600" indent="-228600">
              <a:lnSpc>
                <a:spcPts val="1200"/>
              </a:lnSpc>
              <a:spcAft>
                <a:spcPts val="200"/>
              </a:spcAft>
              <a:buAutoNum type="arabicPeriod"/>
            </a:pPr>
            <a:r>
              <a:rPr lang="kk-KZ" sz="1100" dirty="0">
                <a:latin typeface="Tahoma" pitchFamily="34" charset="0"/>
                <a:ea typeface="Tahoma" pitchFamily="34" charset="0"/>
                <a:cs typeface="Tahoma" pitchFamily="34" charset="0"/>
              </a:rPr>
              <a:t>ҚР ММжЖК-дЕ Жарғыны бекіту.</a:t>
            </a:r>
            <a:endParaRPr lang="ru-RU" sz="1100" dirty="0"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93" name="Прямоугольник 92">
            <a:extLst>
              <a:ext uri="{FF2B5EF4-FFF2-40B4-BE49-F238E27FC236}">
                <a16:creationId xmlns:a16="http://schemas.microsoft.com/office/drawing/2014/main" id="{5FFA7472-7A08-417C-8FF6-A0F4CD3A790B}"/>
              </a:ext>
            </a:extLst>
          </p:cNvPr>
          <p:cNvSpPr/>
          <p:nvPr/>
        </p:nvSpPr>
        <p:spPr>
          <a:xfrm>
            <a:off x="685801" y="1548708"/>
            <a:ext cx="3076574" cy="444737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ru-RU" sz="11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«</a:t>
            </a:r>
            <a:r>
              <a:rPr lang="kk-KZ" sz="1100" dirty="0">
                <a:latin typeface="Tahoma" pitchFamily="34" charset="0"/>
                <a:ea typeface="Tahoma" pitchFamily="34" charset="0"/>
                <a:cs typeface="Tahoma" pitchFamily="34" charset="0"/>
              </a:rPr>
              <a:t>Мемлекеттік мүлік туралы» Қазақстан Республикасы Заңының 75-бабының 4-тармағына сәйкес жеке және мемлекеттік емес заңды тұлғалар мемлекеттік мүлікке сенім білдірушілер ретінде әрекет етеді. </a:t>
            </a:r>
            <a:r>
              <a:rPr lang="kk-KZ" sz="1100" b="1" dirty="0">
                <a:latin typeface="Tahoma" pitchFamily="34" charset="0"/>
                <a:ea typeface="Tahoma" pitchFamily="34" charset="0"/>
                <a:cs typeface="Tahoma" pitchFamily="34" charset="0"/>
              </a:rPr>
              <a:t>РЭДСО</a:t>
            </a:r>
            <a:r>
              <a:rPr lang="kk-KZ" sz="1100" dirty="0">
                <a:latin typeface="Tahoma" pitchFamily="34" charset="0"/>
                <a:ea typeface="Tahoma" pitchFamily="34" charset="0"/>
                <a:cs typeface="Tahoma" pitchFamily="34" charset="0"/>
              </a:rPr>
              <a:t> - бұл мемлекеттік заңды тұлға, </a:t>
            </a:r>
            <a:r>
              <a:rPr lang="kk-KZ" sz="1100" b="1" dirty="0">
                <a:latin typeface="Tahoma" pitchFamily="34" charset="0"/>
                <a:ea typeface="Tahoma" pitchFamily="34" charset="0"/>
                <a:cs typeface="Tahoma" pitchFamily="34" charset="0"/>
              </a:rPr>
              <a:t>оны мемлекеттік мүліктің әлеуетті сенімгер басқарушы ретінде қарастыруға болмайды</a:t>
            </a:r>
            <a:endParaRPr lang="ru-RU" sz="1100" b="1" dirty="0"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>
              <a:spcAft>
                <a:spcPts val="600"/>
              </a:spcAft>
            </a:pPr>
            <a:endParaRPr lang="kk-KZ" sz="11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>
              <a:spcAft>
                <a:spcPts val="600"/>
              </a:spcAft>
            </a:pPr>
            <a:endParaRPr lang="ru-RU" sz="11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>
              <a:spcAft>
                <a:spcPts val="600"/>
              </a:spcAft>
            </a:pPr>
            <a:r>
              <a:rPr lang="kk-KZ" sz="1100" b="1" dirty="0">
                <a:latin typeface="Tahoma" pitchFamily="34" charset="0"/>
                <a:ea typeface="Tahoma" pitchFamily="34" charset="0"/>
                <a:cs typeface="Tahoma" pitchFamily="34" charset="0"/>
              </a:rPr>
              <a:t>ӘМСҚ КеАҚ, ДЗМБСҰО және басқалары конкурстық рәсімдерді жарияламай АЖ-ды РЭДСО-ға сенімгерлік басқаруға бере алмайды.</a:t>
            </a:r>
            <a:r>
              <a:rPr lang="ru-RU" sz="1100" b="1" dirty="0">
                <a:latin typeface="Tahoma" pitchFamily="34" charset="0"/>
                <a:ea typeface="Tahoma" pitchFamily="34" charset="0"/>
                <a:cs typeface="Tahoma" pitchFamily="34" charset="0"/>
              </a:rPr>
              <a:t>  </a:t>
            </a:r>
            <a:r>
              <a:rPr lang="kk-KZ" sz="1100" dirty="0">
                <a:latin typeface="Tahoma" pitchFamily="34" charset="0"/>
                <a:ea typeface="Tahoma" pitchFamily="34" charset="0"/>
                <a:cs typeface="Tahoma" pitchFamily="34" charset="0"/>
              </a:rPr>
              <a:t>РЭДСО РМК-мен «Электрондық денсаулық сақтау орталығы» АҚ-ға қайта құру</a:t>
            </a:r>
            <a:endParaRPr lang="ru-RU" sz="1100" spc="-4" dirty="0">
              <a:solidFill>
                <a:schemeClr val="tx1">
                  <a:lumMod val="95000"/>
                  <a:lumOff val="5000"/>
                </a:schemeClr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>
              <a:spcAft>
                <a:spcPts val="600"/>
              </a:spcAft>
            </a:pPr>
            <a:endParaRPr lang="ru-RU" sz="1100" b="1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>
              <a:spcAft>
                <a:spcPts val="600"/>
              </a:spcAft>
            </a:pPr>
            <a:endParaRPr lang="ru-RU" sz="1100" b="1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>
              <a:spcAft>
                <a:spcPts val="600"/>
              </a:spcAft>
            </a:pPr>
            <a:r>
              <a:rPr lang="ru-RU" sz="1100" b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Электрондық</a:t>
            </a:r>
            <a:r>
              <a:rPr lang="ru-RU" sz="11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100" b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денсаулық</a:t>
            </a:r>
            <a:r>
              <a:rPr lang="ru-RU" sz="11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100" b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ақтау</a:t>
            </a:r>
            <a:r>
              <a:rPr lang="ru-RU" sz="11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100" b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омпоненттерін</a:t>
            </a:r>
            <a:r>
              <a:rPr lang="ru-RU" sz="11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100" b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әзірлеу</a:t>
            </a:r>
            <a:r>
              <a:rPr lang="ru-RU" sz="11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100" b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әне</a:t>
            </a:r>
            <a:r>
              <a:rPr lang="ru-RU" sz="11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100" b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дамыту</a:t>
            </a:r>
            <a:r>
              <a:rPr lang="ru-RU" sz="11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100" b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үмкіндіктерінің</a:t>
            </a:r>
            <a:r>
              <a:rPr lang="ru-RU" sz="11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100" b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болмауы</a:t>
            </a:r>
            <a:endParaRPr lang="ru-RU" sz="1100" b="1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94" name="Shape 5395">
            <a:extLst>
              <a:ext uri="{FF2B5EF4-FFF2-40B4-BE49-F238E27FC236}">
                <a16:creationId xmlns:a16="http://schemas.microsoft.com/office/drawing/2014/main" id="{78A85626-EF56-453C-A8F6-500B94A0F6FD}"/>
              </a:ext>
            </a:extLst>
          </p:cNvPr>
          <p:cNvSpPr/>
          <p:nvPr/>
        </p:nvSpPr>
        <p:spPr>
          <a:xfrm>
            <a:off x="4230962" y="4000012"/>
            <a:ext cx="233890" cy="23023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983" y="21600"/>
                </a:moveTo>
                <a:cubicBezTo>
                  <a:pt x="4759" y="21600"/>
                  <a:pt x="0" y="16759"/>
                  <a:pt x="0" y="10800"/>
                </a:cubicBezTo>
                <a:cubicBezTo>
                  <a:pt x="0" y="4841"/>
                  <a:pt x="4759" y="0"/>
                  <a:pt x="10983" y="0"/>
                </a:cubicBezTo>
                <a:cubicBezTo>
                  <a:pt x="16841" y="0"/>
                  <a:pt x="21600" y="4841"/>
                  <a:pt x="21600" y="10800"/>
                </a:cubicBezTo>
                <a:cubicBezTo>
                  <a:pt x="21600" y="16759"/>
                  <a:pt x="16841" y="21600"/>
                  <a:pt x="10983" y="21600"/>
                </a:cubicBezTo>
                <a:close/>
                <a:moveTo>
                  <a:pt x="17939" y="10055"/>
                </a:moveTo>
                <a:cubicBezTo>
                  <a:pt x="16475" y="8938"/>
                  <a:pt x="16475" y="8938"/>
                  <a:pt x="16475" y="8938"/>
                </a:cubicBezTo>
                <a:cubicBezTo>
                  <a:pt x="11349" y="3724"/>
                  <a:pt x="11349" y="3724"/>
                  <a:pt x="11349" y="3724"/>
                </a:cubicBezTo>
                <a:cubicBezTo>
                  <a:pt x="11349" y="3352"/>
                  <a:pt x="10983" y="3352"/>
                  <a:pt x="10983" y="3352"/>
                </a:cubicBezTo>
                <a:cubicBezTo>
                  <a:pt x="10617" y="3352"/>
                  <a:pt x="10251" y="3352"/>
                  <a:pt x="10251" y="3724"/>
                </a:cubicBezTo>
                <a:cubicBezTo>
                  <a:pt x="8786" y="4841"/>
                  <a:pt x="8786" y="4841"/>
                  <a:pt x="8786" y="4841"/>
                </a:cubicBezTo>
                <a:cubicBezTo>
                  <a:pt x="8786" y="5214"/>
                  <a:pt x="8786" y="5214"/>
                  <a:pt x="8786" y="5586"/>
                </a:cubicBezTo>
                <a:cubicBezTo>
                  <a:pt x="8786" y="5959"/>
                  <a:pt x="8786" y="5959"/>
                  <a:pt x="8786" y="6331"/>
                </a:cubicBezTo>
                <a:cubicBezTo>
                  <a:pt x="11715" y="8938"/>
                  <a:pt x="11715" y="8938"/>
                  <a:pt x="11715" y="8938"/>
                </a:cubicBezTo>
                <a:cubicBezTo>
                  <a:pt x="4759" y="8938"/>
                  <a:pt x="4759" y="8938"/>
                  <a:pt x="4759" y="8938"/>
                </a:cubicBezTo>
                <a:cubicBezTo>
                  <a:pt x="4027" y="8938"/>
                  <a:pt x="3661" y="9310"/>
                  <a:pt x="3661" y="9683"/>
                </a:cubicBezTo>
                <a:cubicBezTo>
                  <a:pt x="3661" y="11545"/>
                  <a:pt x="3661" y="11545"/>
                  <a:pt x="3661" y="11545"/>
                </a:cubicBezTo>
                <a:cubicBezTo>
                  <a:pt x="3661" y="11917"/>
                  <a:pt x="4027" y="12662"/>
                  <a:pt x="4759" y="12662"/>
                </a:cubicBezTo>
                <a:cubicBezTo>
                  <a:pt x="11715" y="12662"/>
                  <a:pt x="11715" y="12662"/>
                  <a:pt x="11715" y="12662"/>
                </a:cubicBezTo>
                <a:cubicBezTo>
                  <a:pt x="8786" y="15269"/>
                  <a:pt x="8786" y="15269"/>
                  <a:pt x="8786" y="15269"/>
                </a:cubicBezTo>
                <a:cubicBezTo>
                  <a:pt x="8786" y="15269"/>
                  <a:pt x="8786" y="15641"/>
                  <a:pt x="8786" y="15641"/>
                </a:cubicBezTo>
                <a:cubicBezTo>
                  <a:pt x="8786" y="16014"/>
                  <a:pt x="8786" y="16386"/>
                  <a:pt x="8786" y="16386"/>
                </a:cubicBezTo>
                <a:cubicBezTo>
                  <a:pt x="10251" y="17876"/>
                  <a:pt x="10251" y="17876"/>
                  <a:pt x="10251" y="17876"/>
                </a:cubicBezTo>
                <a:cubicBezTo>
                  <a:pt x="10251" y="17876"/>
                  <a:pt x="10617" y="17876"/>
                  <a:pt x="10983" y="17876"/>
                </a:cubicBezTo>
                <a:cubicBezTo>
                  <a:pt x="10983" y="17876"/>
                  <a:pt x="11349" y="17876"/>
                  <a:pt x="11349" y="17876"/>
                </a:cubicBezTo>
                <a:cubicBezTo>
                  <a:pt x="16475" y="12662"/>
                  <a:pt x="16475" y="12662"/>
                  <a:pt x="16475" y="12662"/>
                </a:cubicBezTo>
                <a:cubicBezTo>
                  <a:pt x="17939" y="11172"/>
                  <a:pt x="17939" y="11172"/>
                  <a:pt x="17939" y="11172"/>
                </a:cubicBezTo>
                <a:cubicBezTo>
                  <a:pt x="17939" y="11172"/>
                  <a:pt x="17939" y="10800"/>
                  <a:pt x="17939" y="10800"/>
                </a:cubicBezTo>
                <a:cubicBezTo>
                  <a:pt x="17939" y="10428"/>
                  <a:pt x="17939" y="10055"/>
                  <a:pt x="17939" y="10055"/>
                </a:cubicBezTo>
                <a:close/>
              </a:path>
            </a:pathLst>
          </a:custGeom>
          <a:solidFill>
            <a:srgbClr val="7CCC62"/>
          </a:solidFill>
          <a:ln w="12700" cap="flat">
            <a:noFill/>
            <a:miter lim="400000"/>
          </a:ln>
          <a:effectLst/>
        </p:spPr>
        <p:txBody>
          <a:bodyPr wrap="square" lIns="20244" tIns="20244" rIns="20244" bIns="20244" numCol="1" anchor="t">
            <a:noAutofit/>
          </a:bodyPr>
          <a:lstStyle/>
          <a:p>
            <a:pPr defTabSz="202408">
              <a:defRPr sz="24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pPr>
            <a:endParaRPr sz="1063"/>
          </a:p>
        </p:txBody>
      </p:sp>
      <p:sp>
        <p:nvSpPr>
          <p:cNvPr id="55" name="Shape 5395">
            <a:extLst>
              <a:ext uri="{FF2B5EF4-FFF2-40B4-BE49-F238E27FC236}">
                <a16:creationId xmlns:a16="http://schemas.microsoft.com/office/drawing/2014/main" id="{7C091D47-1165-4D3B-9F88-8FE439C9AE56}"/>
              </a:ext>
            </a:extLst>
          </p:cNvPr>
          <p:cNvSpPr/>
          <p:nvPr/>
        </p:nvSpPr>
        <p:spPr>
          <a:xfrm>
            <a:off x="4212108" y="5376440"/>
            <a:ext cx="233890" cy="23023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983" y="21600"/>
                </a:moveTo>
                <a:cubicBezTo>
                  <a:pt x="4759" y="21600"/>
                  <a:pt x="0" y="16759"/>
                  <a:pt x="0" y="10800"/>
                </a:cubicBezTo>
                <a:cubicBezTo>
                  <a:pt x="0" y="4841"/>
                  <a:pt x="4759" y="0"/>
                  <a:pt x="10983" y="0"/>
                </a:cubicBezTo>
                <a:cubicBezTo>
                  <a:pt x="16841" y="0"/>
                  <a:pt x="21600" y="4841"/>
                  <a:pt x="21600" y="10800"/>
                </a:cubicBezTo>
                <a:cubicBezTo>
                  <a:pt x="21600" y="16759"/>
                  <a:pt x="16841" y="21600"/>
                  <a:pt x="10983" y="21600"/>
                </a:cubicBezTo>
                <a:close/>
                <a:moveTo>
                  <a:pt x="17939" y="10055"/>
                </a:moveTo>
                <a:cubicBezTo>
                  <a:pt x="16475" y="8938"/>
                  <a:pt x="16475" y="8938"/>
                  <a:pt x="16475" y="8938"/>
                </a:cubicBezTo>
                <a:cubicBezTo>
                  <a:pt x="11349" y="3724"/>
                  <a:pt x="11349" y="3724"/>
                  <a:pt x="11349" y="3724"/>
                </a:cubicBezTo>
                <a:cubicBezTo>
                  <a:pt x="11349" y="3352"/>
                  <a:pt x="10983" y="3352"/>
                  <a:pt x="10983" y="3352"/>
                </a:cubicBezTo>
                <a:cubicBezTo>
                  <a:pt x="10617" y="3352"/>
                  <a:pt x="10251" y="3352"/>
                  <a:pt x="10251" y="3724"/>
                </a:cubicBezTo>
                <a:cubicBezTo>
                  <a:pt x="8786" y="4841"/>
                  <a:pt x="8786" y="4841"/>
                  <a:pt x="8786" y="4841"/>
                </a:cubicBezTo>
                <a:cubicBezTo>
                  <a:pt x="8786" y="5214"/>
                  <a:pt x="8786" y="5214"/>
                  <a:pt x="8786" y="5586"/>
                </a:cubicBezTo>
                <a:cubicBezTo>
                  <a:pt x="8786" y="5959"/>
                  <a:pt x="8786" y="5959"/>
                  <a:pt x="8786" y="6331"/>
                </a:cubicBezTo>
                <a:cubicBezTo>
                  <a:pt x="11715" y="8938"/>
                  <a:pt x="11715" y="8938"/>
                  <a:pt x="11715" y="8938"/>
                </a:cubicBezTo>
                <a:cubicBezTo>
                  <a:pt x="4759" y="8938"/>
                  <a:pt x="4759" y="8938"/>
                  <a:pt x="4759" y="8938"/>
                </a:cubicBezTo>
                <a:cubicBezTo>
                  <a:pt x="4027" y="8938"/>
                  <a:pt x="3661" y="9310"/>
                  <a:pt x="3661" y="9683"/>
                </a:cubicBezTo>
                <a:cubicBezTo>
                  <a:pt x="3661" y="11545"/>
                  <a:pt x="3661" y="11545"/>
                  <a:pt x="3661" y="11545"/>
                </a:cubicBezTo>
                <a:cubicBezTo>
                  <a:pt x="3661" y="11917"/>
                  <a:pt x="4027" y="12662"/>
                  <a:pt x="4759" y="12662"/>
                </a:cubicBezTo>
                <a:cubicBezTo>
                  <a:pt x="11715" y="12662"/>
                  <a:pt x="11715" y="12662"/>
                  <a:pt x="11715" y="12662"/>
                </a:cubicBezTo>
                <a:cubicBezTo>
                  <a:pt x="8786" y="15269"/>
                  <a:pt x="8786" y="15269"/>
                  <a:pt x="8786" y="15269"/>
                </a:cubicBezTo>
                <a:cubicBezTo>
                  <a:pt x="8786" y="15269"/>
                  <a:pt x="8786" y="15641"/>
                  <a:pt x="8786" y="15641"/>
                </a:cubicBezTo>
                <a:cubicBezTo>
                  <a:pt x="8786" y="16014"/>
                  <a:pt x="8786" y="16386"/>
                  <a:pt x="8786" y="16386"/>
                </a:cubicBezTo>
                <a:cubicBezTo>
                  <a:pt x="10251" y="17876"/>
                  <a:pt x="10251" y="17876"/>
                  <a:pt x="10251" y="17876"/>
                </a:cubicBezTo>
                <a:cubicBezTo>
                  <a:pt x="10251" y="17876"/>
                  <a:pt x="10617" y="17876"/>
                  <a:pt x="10983" y="17876"/>
                </a:cubicBezTo>
                <a:cubicBezTo>
                  <a:pt x="10983" y="17876"/>
                  <a:pt x="11349" y="17876"/>
                  <a:pt x="11349" y="17876"/>
                </a:cubicBezTo>
                <a:cubicBezTo>
                  <a:pt x="16475" y="12662"/>
                  <a:pt x="16475" y="12662"/>
                  <a:pt x="16475" y="12662"/>
                </a:cubicBezTo>
                <a:cubicBezTo>
                  <a:pt x="17939" y="11172"/>
                  <a:pt x="17939" y="11172"/>
                  <a:pt x="17939" y="11172"/>
                </a:cubicBezTo>
                <a:cubicBezTo>
                  <a:pt x="17939" y="11172"/>
                  <a:pt x="17939" y="10800"/>
                  <a:pt x="17939" y="10800"/>
                </a:cubicBezTo>
                <a:cubicBezTo>
                  <a:pt x="17939" y="10428"/>
                  <a:pt x="17939" y="10055"/>
                  <a:pt x="17939" y="10055"/>
                </a:cubicBezTo>
                <a:close/>
              </a:path>
            </a:pathLst>
          </a:custGeom>
          <a:solidFill>
            <a:srgbClr val="7CCC62"/>
          </a:solidFill>
          <a:ln w="12700" cap="flat">
            <a:noFill/>
            <a:miter lim="400000"/>
          </a:ln>
          <a:effectLst/>
        </p:spPr>
        <p:txBody>
          <a:bodyPr wrap="square" lIns="20244" tIns="20244" rIns="20244" bIns="20244" numCol="1" anchor="t">
            <a:noAutofit/>
          </a:bodyPr>
          <a:lstStyle/>
          <a:p>
            <a:pPr defTabSz="202408">
              <a:defRPr sz="24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pPr>
            <a:endParaRPr sz="1063"/>
          </a:p>
        </p:txBody>
      </p:sp>
      <p:sp>
        <p:nvSpPr>
          <p:cNvPr id="33" name="Rounded Rectangle 46">
            <a:extLst>
              <a:ext uri="{FF2B5EF4-FFF2-40B4-BE49-F238E27FC236}">
                <a16:creationId xmlns:a16="http://schemas.microsoft.com/office/drawing/2014/main" id="{4D68C3CE-81FB-45CD-963B-D3072A18134A}"/>
              </a:ext>
            </a:extLst>
          </p:cNvPr>
          <p:cNvSpPr/>
          <p:nvPr/>
        </p:nvSpPr>
        <p:spPr>
          <a:xfrm rot="13500000">
            <a:off x="436036" y="5504489"/>
            <a:ext cx="176840" cy="175071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34" name="Shape 5416">
            <a:extLst>
              <a:ext uri="{FF2B5EF4-FFF2-40B4-BE49-F238E27FC236}">
                <a16:creationId xmlns:a16="http://schemas.microsoft.com/office/drawing/2014/main" id="{EA81A506-9FAB-4AD1-971C-4B7D259566FF}"/>
              </a:ext>
            </a:extLst>
          </p:cNvPr>
          <p:cNvSpPr/>
          <p:nvPr/>
        </p:nvSpPr>
        <p:spPr>
          <a:xfrm>
            <a:off x="486710" y="5541192"/>
            <a:ext cx="97749" cy="9675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120" y="18240"/>
                </a:moveTo>
                <a:cubicBezTo>
                  <a:pt x="18240" y="21120"/>
                  <a:pt x="18240" y="21120"/>
                  <a:pt x="18240" y="21120"/>
                </a:cubicBezTo>
                <a:cubicBezTo>
                  <a:pt x="18240" y="21120"/>
                  <a:pt x="17760" y="21600"/>
                  <a:pt x="17280" y="21600"/>
                </a:cubicBezTo>
                <a:cubicBezTo>
                  <a:pt x="16800" y="21600"/>
                  <a:pt x="16320" y="21120"/>
                  <a:pt x="15840" y="21120"/>
                </a:cubicBezTo>
                <a:cubicBezTo>
                  <a:pt x="10560" y="15360"/>
                  <a:pt x="10560" y="15360"/>
                  <a:pt x="10560" y="15360"/>
                </a:cubicBezTo>
                <a:cubicBezTo>
                  <a:pt x="5280" y="21120"/>
                  <a:pt x="5280" y="21120"/>
                  <a:pt x="5280" y="21120"/>
                </a:cubicBezTo>
                <a:cubicBezTo>
                  <a:pt x="4800" y="21120"/>
                  <a:pt x="4320" y="21600"/>
                  <a:pt x="3840" y="21600"/>
                </a:cubicBezTo>
                <a:cubicBezTo>
                  <a:pt x="3360" y="21600"/>
                  <a:pt x="3360" y="21120"/>
                  <a:pt x="2880" y="21120"/>
                </a:cubicBezTo>
                <a:cubicBezTo>
                  <a:pt x="480" y="18240"/>
                  <a:pt x="480" y="18240"/>
                  <a:pt x="480" y="18240"/>
                </a:cubicBezTo>
                <a:cubicBezTo>
                  <a:pt x="0" y="18240"/>
                  <a:pt x="0" y="17760"/>
                  <a:pt x="0" y="17280"/>
                </a:cubicBezTo>
                <a:cubicBezTo>
                  <a:pt x="0" y="16800"/>
                  <a:pt x="0" y="16320"/>
                  <a:pt x="480" y="15840"/>
                </a:cubicBezTo>
                <a:cubicBezTo>
                  <a:pt x="5760" y="10560"/>
                  <a:pt x="5760" y="10560"/>
                  <a:pt x="5760" y="10560"/>
                </a:cubicBezTo>
                <a:cubicBezTo>
                  <a:pt x="480" y="5280"/>
                  <a:pt x="480" y="5280"/>
                  <a:pt x="480" y="5280"/>
                </a:cubicBezTo>
                <a:cubicBezTo>
                  <a:pt x="0" y="4800"/>
                  <a:pt x="0" y="4320"/>
                  <a:pt x="0" y="3840"/>
                </a:cubicBezTo>
                <a:cubicBezTo>
                  <a:pt x="0" y="3360"/>
                  <a:pt x="0" y="2880"/>
                  <a:pt x="480" y="2880"/>
                </a:cubicBezTo>
                <a:cubicBezTo>
                  <a:pt x="2880" y="480"/>
                  <a:pt x="2880" y="480"/>
                  <a:pt x="2880" y="480"/>
                </a:cubicBezTo>
                <a:cubicBezTo>
                  <a:pt x="3360" y="0"/>
                  <a:pt x="3360" y="0"/>
                  <a:pt x="3840" y="0"/>
                </a:cubicBezTo>
                <a:cubicBezTo>
                  <a:pt x="4320" y="0"/>
                  <a:pt x="4800" y="0"/>
                  <a:pt x="5280" y="480"/>
                </a:cubicBezTo>
                <a:cubicBezTo>
                  <a:pt x="10560" y="5760"/>
                  <a:pt x="10560" y="5760"/>
                  <a:pt x="10560" y="5760"/>
                </a:cubicBezTo>
                <a:cubicBezTo>
                  <a:pt x="15840" y="480"/>
                  <a:pt x="15840" y="480"/>
                  <a:pt x="15840" y="480"/>
                </a:cubicBezTo>
                <a:cubicBezTo>
                  <a:pt x="16320" y="0"/>
                  <a:pt x="16800" y="0"/>
                  <a:pt x="17280" y="0"/>
                </a:cubicBezTo>
                <a:cubicBezTo>
                  <a:pt x="17760" y="0"/>
                  <a:pt x="18240" y="0"/>
                  <a:pt x="18240" y="480"/>
                </a:cubicBezTo>
                <a:cubicBezTo>
                  <a:pt x="21120" y="2880"/>
                  <a:pt x="21120" y="2880"/>
                  <a:pt x="21120" y="2880"/>
                </a:cubicBezTo>
                <a:cubicBezTo>
                  <a:pt x="21120" y="2880"/>
                  <a:pt x="21600" y="3360"/>
                  <a:pt x="21600" y="3840"/>
                </a:cubicBezTo>
                <a:cubicBezTo>
                  <a:pt x="21600" y="4320"/>
                  <a:pt x="21120" y="4800"/>
                  <a:pt x="21120" y="5280"/>
                </a:cubicBezTo>
                <a:cubicBezTo>
                  <a:pt x="15360" y="10560"/>
                  <a:pt x="15360" y="10560"/>
                  <a:pt x="15360" y="10560"/>
                </a:cubicBezTo>
                <a:cubicBezTo>
                  <a:pt x="21120" y="15840"/>
                  <a:pt x="21120" y="15840"/>
                  <a:pt x="21120" y="15840"/>
                </a:cubicBezTo>
                <a:cubicBezTo>
                  <a:pt x="21120" y="16320"/>
                  <a:pt x="21600" y="16800"/>
                  <a:pt x="21600" y="17280"/>
                </a:cubicBezTo>
                <a:cubicBezTo>
                  <a:pt x="21600" y="17760"/>
                  <a:pt x="21120" y="18240"/>
                  <a:pt x="21120" y="18240"/>
                </a:cubicBezTo>
                <a:close/>
              </a:path>
            </a:pathLst>
          </a:custGeom>
          <a:solidFill>
            <a:schemeClr val="bg1"/>
          </a:solidFill>
          <a:ln w="12700" cap="flat">
            <a:noFill/>
            <a:miter lim="400000"/>
          </a:ln>
          <a:effectLst/>
        </p:spPr>
        <p:txBody>
          <a:bodyPr wrap="square" lIns="45713" tIns="45713" rIns="45713" bIns="45713" numCol="1" anchor="t">
            <a:noAutofit/>
          </a:bodyPr>
          <a:lstStyle/>
          <a:p>
            <a:pPr defTabSz="457109">
              <a:defRPr sz="24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pPr>
            <a:endParaRPr sz="2400"/>
          </a:p>
        </p:txBody>
      </p:sp>
      <p:sp>
        <p:nvSpPr>
          <p:cNvPr id="87" name="Равнобедренный треугольник 86">
            <a:extLst>
              <a:ext uri="{FF2B5EF4-FFF2-40B4-BE49-F238E27FC236}">
                <a16:creationId xmlns:a16="http://schemas.microsoft.com/office/drawing/2014/main" id="{7EC08B00-7993-4248-9B50-1E3516638D55}"/>
              </a:ext>
            </a:extLst>
          </p:cNvPr>
          <p:cNvSpPr/>
          <p:nvPr/>
        </p:nvSpPr>
        <p:spPr>
          <a:xfrm rot="5400000">
            <a:off x="1243012" y="3757616"/>
            <a:ext cx="5419723" cy="247649"/>
          </a:xfrm>
          <a:prstGeom prst="triangle">
            <a:avLst/>
          </a:prstGeom>
          <a:solidFill>
            <a:schemeClr val="tx2">
              <a:lumMod val="20000"/>
              <a:lumOff val="80000"/>
              <a:alpha val="69804"/>
            </a:scheme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sz="1594"/>
          </a:p>
        </p:txBody>
      </p:sp>
      <p:grpSp>
        <p:nvGrpSpPr>
          <p:cNvPr id="36" name="Группа 35">
            <a:extLst>
              <a:ext uri="{FF2B5EF4-FFF2-40B4-BE49-F238E27FC236}">
                <a16:creationId xmlns:a16="http://schemas.microsoft.com/office/drawing/2014/main" id="{FC651521-B7E6-4E25-8EDB-1A4BB0961547}"/>
              </a:ext>
            </a:extLst>
          </p:cNvPr>
          <p:cNvGrpSpPr/>
          <p:nvPr/>
        </p:nvGrpSpPr>
        <p:grpSpPr>
          <a:xfrm>
            <a:off x="395287" y="6758608"/>
            <a:ext cx="9474269" cy="949814"/>
            <a:chOff x="395288" y="6657570"/>
            <a:chExt cx="9358312" cy="1135595"/>
          </a:xfrm>
        </p:grpSpPr>
        <p:grpSp>
          <p:nvGrpSpPr>
            <p:cNvPr id="37" name="Группа 36">
              <a:extLst>
                <a:ext uri="{FF2B5EF4-FFF2-40B4-BE49-F238E27FC236}">
                  <a16:creationId xmlns:a16="http://schemas.microsoft.com/office/drawing/2014/main" id="{F063C95E-E8BA-4E29-AC30-FB8FD10DAF4F}"/>
                </a:ext>
              </a:extLst>
            </p:cNvPr>
            <p:cNvGrpSpPr/>
            <p:nvPr/>
          </p:nvGrpSpPr>
          <p:grpSpPr>
            <a:xfrm>
              <a:off x="395288" y="6795925"/>
              <a:ext cx="8977312" cy="997240"/>
              <a:chOff x="395288" y="6795925"/>
              <a:chExt cx="8977312" cy="997240"/>
            </a:xfrm>
          </p:grpSpPr>
          <p:sp>
            <p:nvSpPr>
              <p:cNvPr id="39" name="Прямоугольник 38">
                <a:extLst>
                  <a:ext uri="{FF2B5EF4-FFF2-40B4-BE49-F238E27FC236}">
                    <a16:creationId xmlns:a16="http://schemas.microsoft.com/office/drawing/2014/main" id="{58633F77-508E-4DA6-904F-FAF9F332D13F}"/>
                  </a:ext>
                </a:extLst>
              </p:cNvPr>
              <p:cNvSpPr/>
              <p:nvPr/>
            </p:nvSpPr>
            <p:spPr>
              <a:xfrm>
                <a:off x="1132363" y="6854825"/>
                <a:ext cx="8240237" cy="938340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ru-RU" sz="1500" b="1" spc="-4" dirty="0">
                    <a:solidFill>
                      <a:srgbClr val="00B0F0"/>
                    </a:solidFill>
                    <a:latin typeface="Tahoma"/>
                    <a:cs typeface="Tahoma"/>
                  </a:rPr>
                  <a:t>ҚР ДСМ, ҚР ЦДИАӨМ </a:t>
                </a:r>
                <a:r>
                  <a:rPr lang="ru-RU" sz="1500" b="1" spc="-4" dirty="0" err="1">
                    <a:solidFill>
                      <a:srgbClr val="00B0F0"/>
                    </a:solidFill>
                    <a:latin typeface="Tahoma"/>
                    <a:cs typeface="Tahoma"/>
                  </a:rPr>
                  <a:t>және</a:t>
                </a:r>
                <a:r>
                  <a:rPr lang="ru-RU" sz="1500" b="1" spc="-4" dirty="0">
                    <a:solidFill>
                      <a:srgbClr val="00B0F0"/>
                    </a:solidFill>
                    <a:latin typeface="Tahoma"/>
                    <a:cs typeface="Tahoma"/>
                  </a:rPr>
                  <a:t> «</a:t>
                </a:r>
                <a:r>
                  <a:rPr lang="ru-RU" sz="1500" b="1" spc="-4" dirty="0" err="1">
                    <a:solidFill>
                      <a:srgbClr val="00B0F0"/>
                    </a:solidFill>
                    <a:latin typeface="Tahoma"/>
                    <a:cs typeface="Tahoma"/>
                  </a:rPr>
                  <a:t>Цифрлық</a:t>
                </a:r>
                <a:endParaRPr lang="ru-RU" sz="1500" b="1" spc="-4" dirty="0">
                  <a:solidFill>
                    <a:srgbClr val="00B0F0"/>
                  </a:solidFill>
                  <a:latin typeface="Tahoma"/>
                  <a:cs typeface="Tahoma"/>
                </a:endParaRPr>
              </a:p>
              <a:p>
                <a:r>
                  <a:rPr lang="ru-RU" sz="1500" b="1" spc="-4" dirty="0">
                    <a:solidFill>
                      <a:srgbClr val="00B0F0"/>
                    </a:solidFill>
                    <a:latin typeface="Tahoma"/>
                    <a:cs typeface="Tahoma"/>
                  </a:rPr>
                  <a:t>трансформация </a:t>
                </a:r>
                <a:r>
                  <a:rPr lang="ru-RU" sz="1500" b="1" spc="-4" dirty="0" err="1">
                    <a:solidFill>
                      <a:srgbClr val="00B0F0"/>
                    </a:solidFill>
                    <a:latin typeface="Tahoma"/>
                    <a:cs typeface="Tahoma"/>
                  </a:rPr>
                  <a:t>орталығымен</a:t>
                </a:r>
                <a:r>
                  <a:rPr lang="ru-RU" sz="1500" b="1" spc="-4" dirty="0">
                    <a:solidFill>
                      <a:srgbClr val="00B0F0"/>
                    </a:solidFill>
                    <a:latin typeface="Tahoma"/>
                    <a:cs typeface="Tahoma"/>
                  </a:rPr>
                  <a:t>» </a:t>
                </a:r>
                <a:r>
                  <a:rPr lang="ru-RU" sz="1500" b="1" spc="-4" dirty="0" err="1">
                    <a:solidFill>
                      <a:srgbClr val="00B0F0"/>
                    </a:solidFill>
                    <a:latin typeface="Tahoma"/>
                    <a:cs typeface="Tahoma"/>
                  </a:rPr>
                  <a:t>мақұлдаған</a:t>
                </a:r>
                <a:endParaRPr lang="ru-RU" sz="1500" b="1" spc="-4" dirty="0">
                  <a:solidFill>
                    <a:srgbClr val="00B0F0"/>
                  </a:solidFill>
                  <a:latin typeface="Tahoma"/>
                  <a:cs typeface="Tahoma"/>
                </a:endParaRPr>
              </a:p>
              <a:p>
                <a:endParaRPr lang="ru-RU" sz="1500" b="1" spc="-4" dirty="0">
                  <a:solidFill>
                    <a:srgbClr val="00B0F0"/>
                  </a:solidFill>
                  <a:latin typeface="Tahoma"/>
                  <a:cs typeface="Tahoma"/>
                </a:endParaRPr>
              </a:p>
            </p:txBody>
          </p:sp>
          <p:grpSp>
            <p:nvGrpSpPr>
              <p:cNvPr id="40" name="Группа 39">
                <a:extLst>
                  <a:ext uri="{FF2B5EF4-FFF2-40B4-BE49-F238E27FC236}">
                    <a16:creationId xmlns:a16="http://schemas.microsoft.com/office/drawing/2014/main" id="{89B175DA-BA09-472B-92C3-2A03244BD5DA}"/>
                  </a:ext>
                </a:extLst>
              </p:cNvPr>
              <p:cNvGrpSpPr/>
              <p:nvPr/>
            </p:nvGrpSpPr>
            <p:grpSpPr>
              <a:xfrm>
                <a:off x="395288" y="6795925"/>
                <a:ext cx="673575" cy="661515"/>
                <a:chOff x="392335" y="1654292"/>
                <a:chExt cx="1205591" cy="1184005"/>
              </a:xfrm>
            </p:grpSpPr>
            <p:sp>
              <p:nvSpPr>
                <p:cNvPr id="42" name="Равнобедренный треугольник 41">
                  <a:extLst>
                    <a:ext uri="{FF2B5EF4-FFF2-40B4-BE49-F238E27FC236}">
                      <a16:creationId xmlns:a16="http://schemas.microsoft.com/office/drawing/2014/main" id="{C0872FCC-7590-4E41-934D-242844623557}"/>
                    </a:ext>
                  </a:extLst>
                </p:cNvPr>
                <p:cNvSpPr/>
                <p:nvPr/>
              </p:nvSpPr>
              <p:spPr>
                <a:xfrm rot="5400000">
                  <a:off x="502433" y="1742804"/>
                  <a:ext cx="1176641" cy="1014345"/>
                </a:xfrm>
                <a:prstGeom prst="triangle">
                  <a:avLst/>
                </a:prstGeom>
                <a:solidFill>
                  <a:srgbClr val="00B0F0">
                    <a:alpha val="30196"/>
                  </a:srgbClr>
                </a:solidFill>
                <a:ln w="3810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x-none" sz="1594"/>
                </a:p>
              </p:txBody>
            </p:sp>
            <p:sp>
              <p:nvSpPr>
                <p:cNvPr id="45" name="Равнобедренный треугольник 44">
                  <a:extLst>
                    <a:ext uri="{FF2B5EF4-FFF2-40B4-BE49-F238E27FC236}">
                      <a16:creationId xmlns:a16="http://schemas.microsoft.com/office/drawing/2014/main" id="{2C00A795-6192-45AD-ACBC-70DB6ECDF0AA}"/>
                    </a:ext>
                  </a:extLst>
                </p:cNvPr>
                <p:cNvSpPr/>
                <p:nvPr/>
              </p:nvSpPr>
              <p:spPr>
                <a:xfrm rot="5400000">
                  <a:off x="311187" y="1735440"/>
                  <a:ext cx="1176641" cy="1014345"/>
                </a:xfrm>
                <a:prstGeom prst="triangle">
                  <a:avLst/>
                </a:prstGeom>
                <a:solidFill>
                  <a:srgbClr val="00B0F0">
                    <a:alpha val="50196"/>
                  </a:srgbClr>
                </a:solidFill>
                <a:ln w="3810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x-none" sz="1594"/>
                </a:p>
              </p:txBody>
            </p:sp>
          </p:grpSp>
          <p:pic>
            <p:nvPicPr>
              <p:cNvPr id="41" name="Рисунок 40">
                <a:extLst>
                  <a:ext uri="{FF2B5EF4-FFF2-40B4-BE49-F238E27FC236}">
                    <a16:creationId xmlns:a16="http://schemas.microsoft.com/office/drawing/2014/main" id="{F863CDCA-2BBF-4297-876A-270B2C74E64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435928" y="6812437"/>
                <a:ext cx="614523" cy="614523"/>
              </a:xfrm>
              <a:prstGeom prst="rect">
                <a:avLst/>
              </a:prstGeom>
            </p:spPr>
          </p:pic>
        </p:grpSp>
        <p:cxnSp>
          <p:nvCxnSpPr>
            <p:cNvPr id="38" name="Прямая соединительная линия 37">
              <a:extLst>
                <a:ext uri="{FF2B5EF4-FFF2-40B4-BE49-F238E27FC236}">
                  <a16:creationId xmlns:a16="http://schemas.microsoft.com/office/drawing/2014/main" id="{2CA97A26-1A90-4B1D-953B-21DD1777A12E}"/>
                </a:ext>
              </a:extLst>
            </p:cNvPr>
            <p:cNvCxnSpPr>
              <a:cxnSpLocks/>
            </p:cNvCxnSpPr>
            <p:nvPr/>
          </p:nvCxnSpPr>
          <p:spPr>
            <a:xfrm>
              <a:off x="395288" y="6657570"/>
              <a:ext cx="9358312" cy="0"/>
            </a:xfrm>
            <a:prstGeom prst="line">
              <a:avLst/>
            </a:prstGeom>
            <a:ln w="25400">
              <a:solidFill>
                <a:schemeClr val="bg1">
                  <a:lumMod val="85000"/>
                </a:schemeClr>
              </a:solidFill>
              <a:headEnd type="oval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6" name="Группа 45">
            <a:extLst>
              <a:ext uri="{FF2B5EF4-FFF2-40B4-BE49-F238E27FC236}">
                <a16:creationId xmlns:a16="http://schemas.microsoft.com/office/drawing/2014/main" id="{0D8F10F9-0D5F-4934-922B-23AA658DB8E8}"/>
              </a:ext>
            </a:extLst>
          </p:cNvPr>
          <p:cNvGrpSpPr/>
          <p:nvPr/>
        </p:nvGrpSpPr>
        <p:grpSpPr>
          <a:xfrm>
            <a:off x="4276695" y="3777229"/>
            <a:ext cx="6024562" cy="1380347"/>
            <a:chOff x="395288" y="3838007"/>
            <a:chExt cx="9998392" cy="1380347"/>
          </a:xfrm>
        </p:grpSpPr>
        <p:cxnSp>
          <p:nvCxnSpPr>
            <p:cNvPr id="47" name="Прямая соединительная линия 46">
              <a:extLst>
                <a:ext uri="{FF2B5EF4-FFF2-40B4-BE49-F238E27FC236}">
                  <a16:creationId xmlns:a16="http://schemas.microsoft.com/office/drawing/2014/main" id="{93AA5799-5320-4063-9C6A-1AAB47FE6D78}"/>
                </a:ext>
              </a:extLst>
            </p:cNvPr>
            <p:cNvCxnSpPr>
              <a:cxnSpLocks/>
            </p:cNvCxnSpPr>
            <p:nvPr/>
          </p:nvCxnSpPr>
          <p:spPr>
            <a:xfrm>
              <a:off x="443908" y="5218354"/>
              <a:ext cx="9949772" cy="0"/>
            </a:xfrm>
            <a:prstGeom prst="line">
              <a:avLst/>
            </a:prstGeom>
            <a:ln w="25400">
              <a:solidFill>
                <a:schemeClr val="bg1">
                  <a:lumMod val="95000"/>
                </a:schemeClr>
              </a:solidFill>
              <a:headEnd type="oval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Прямая соединительная линия 47">
              <a:extLst>
                <a:ext uri="{FF2B5EF4-FFF2-40B4-BE49-F238E27FC236}">
                  <a16:creationId xmlns:a16="http://schemas.microsoft.com/office/drawing/2014/main" id="{8B53B08E-0893-4EA0-86A8-CCD13D8A46B0}"/>
                </a:ext>
              </a:extLst>
            </p:cNvPr>
            <p:cNvCxnSpPr>
              <a:cxnSpLocks/>
            </p:cNvCxnSpPr>
            <p:nvPr/>
          </p:nvCxnSpPr>
          <p:spPr>
            <a:xfrm>
              <a:off x="395288" y="3838007"/>
              <a:ext cx="9948822" cy="11057"/>
            </a:xfrm>
            <a:prstGeom prst="line">
              <a:avLst/>
            </a:prstGeom>
            <a:ln w="25400">
              <a:solidFill>
                <a:schemeClr val="bg1">
                  <a:lumMod val="95000"/>
                </a:schemeClr>
              </a:solidFill>
              <a:headEnd type="oval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5" name="Прямоугольник 34">
            <a:extLst>
              <a:ext uri="{FF2B5EF4-FFF2-40B4-BE49-F238E27FC236}">
                <a16:creationId xmlns:a16="http://schemas.microsoft.com/office/drawing/2014/main" id="{588DB5FA-8206-431E-A864-1920B8BF41A7}"/>
              </a:ext>
            </a:extLst>
          </p:cNvPr>
          <p:cNvSpPr/>
          <p:nvPr/>
        </p:nvSpPr>
        <p:spPr>
          <a:xfrm>
            <a:off x="4528945" y="6539527"/>
            <a:ext cx="1749197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200" b="1" dirty="0" err="1">
                <a:solidFill>
                  <a:srgbClr val="0F6FC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ерзімі</a:t>
            </a:r>
            <a:r>
              <a:rPr lang="ru-RU" sz="1200" b="1" dirty="0">
                <a:solidFill>
                  <a:srgbClr val="0F6FC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:</a:t>
            </a:r>
            <a:r>
              <a:rPr lang="en-US" sz="1200" b="1" dirty="0">
                <a:solidFill>
                  <a:srgbClr val="0F6FC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2021-2022</a:t>
            </a:r>
            <a:endParaRPr lang="ru-RU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9" name="Номер слайда 1"/>
          <p:cNvSpPr txBox="1">
            <a:spLocks/>
          </p:cNvSpPr>
          <p:nvPr/>
        </p:nvSpPr>
        <p:spPr>
          <a:xfrm>
            <a:off x="8022983" y="7067195"/>
            <a:ext cx="2429947" cy="402483"/>
          </a:xfrm>
          <a:prstGeom prst="rect">
            <a:avLst/>
          </a:prstGeom>
        </p:spPr>
        <p:txBody>
          <a:bodyPr/>
          <a:lstStyle>
            <a:defPPr>
              <a:defRPr lang="kk-K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ru-RU" dirty="0"/>
              <a:t>9</a:t>
            </a:r>
          </a:p>
        </p:txBody>
      </p:sp>
    </p:spTree>
    <p:extLst>
      <p:ext uri="{BB962C8B-B14F-4D97-AF65-F5344CB8AC3E}">
        <p14:creationId xmlns:p14="http://schemas.microsoft.com/office/powerpoint/2010/main" val="52922574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Тема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Тема 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8454</TotalTime>
  <Words>1660</Words>
  <Application>Microsoft Office PowerPoint</Application>
  <PresentationFormat>Произвольный</PresentationFormat>
  <Paragraphs>261</Paragraphs>
  <Slides>11</Slides>
  <Notes>3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6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1</vt:i4>
      </vt:variant>
    </vt:vector>
  </HeadingPairs>
  <TitlesOfParts>
    <vt:vector size="19" baseType="lpstr">
      <vt:lpstr>Arial</vt:lpstr>
      <vt:lpstr>Arial Narrow</vt:lpstr>
      <vt:lpstr>Calibri</vt:lpstr>
      <vt:lpstr>Calibri Light</vt:lpstr>
      <vt:lpstr>Tahoma</vt:lpstr>
      <vt:lpstr>Verdana</vt:lpstr>
      <vt:lpstr>Тема Office</vt:lpstr>
      <vt:lpstr>think-cell Slide</vt:lpstr>
      <vt:lpstr>Презентация PowerPoint</vt:lpstr>
      <vt:lpstr>Презентация PowerPoint</vt:lpstr>
      <vt:lpstr>Бірлескен жұмыс тобының МАЖ-бен жұмыс барысында анықталған проблемалық мәселелер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Алмат Кайракбеков</dc:creator>
  <cp:lastModifiedBy>Anar M. Beisova</cp:lastModifiedBy>
  <cp:revision>1070</cp:revision>
  <cp:lastPrinted>2021-06-10T06:39:48Z</cp:lastPrinted>
  <dcterms:created xsi:type="dcterms:W3CDTF">2020-06-01T15:57:50Z</dcterms:created>
  <dcterms:modified xsi:type="dcterms:W3CDTF">2021-06-16T08:24:47Z</dcterms:modified>
</cp:coreProperties>
</file>